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2" r:id="rId1"/>
    <p:sldMasterId id="2147483972" r:id="rId2"/>
    <p:sldMasterId id="2147484029" r:id="rId3"/>
    <p:sldMasterId id="2147484171" r:id="rId4"/>
  </p:sldMasterIdLst>
  <p:notesMasterIdLst>
    <p:notesMasterId r:id="rId38"/>
  </p:notesMasterIdLst>
  <p:sldIdLst>
    <p:sldId id="2147483539" r:id="rId5"/>
    <p:sldId id="314" r:id="rId6"/>
    <p:sldId id="2147470514" r:id="rId7"/>
    <p:sldId id="256" r:id="rId8"/>
    <p:sldId id="2147483541" r:id="rId9"/>
    <p:sldId id="2147483542" r:id="rId10"/>
    <p:sldId id="2147483543" r:id="rId11"/>
    <p:sldId id="2147483544" r:id="rId12"/>
    <p:sldId id="2147482294" r:id="rId13"/>
    <p:sldId id="2147482108" r:id="rId14"/>
    <p:sldId id="263" r:id="rId15"/>
    <p:sldId id="264" r:id="rId16"/>
    <p:sldId id="306" r:id="rId17"/>
    <p:sldId id="302" r:id="rId18"/>
    <p:sldId id="383" r:id="rId19"/>
    <p:sldId id="258" r:id="rId20"/>
    <p:sldId id="2147483605" r:id="rId21"/>
    <p:sldId id="270" r:id="rId22"/>
    <p:sldId id="279" r:id="rId23"/>
    <p:sldId id="601" r:id="rId24"/>
    <p:sldId id="280" r:id="rId25"/>
    <p:sldId id="2147479570" r:id="rId26"/>
    <p:sldId id="260" r:id="rId27"/>
    <p:sldId id="261" r:id="rId28"/>
    <p:sldId id="282" r:id="rId29"/>
    <p:sldId id="262" r:id="rId30"/>
    <p:sldId id="257" r:id="rId31"/>
    <p:sldId id="265" r:id="rId32"/>
    <p:sldId id="274" r:id="rId33"/>
    <p:sldId id="2147482206" r:id="rId34"/>
    <p:sldId id="2147483647" r:id="rId35"/>
    <p:sldId id="319" r:id="rId36"/>
    <p:sldId id="259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ick-Off" id="{502471CE-ED4D-47BA-90FD-CA2C00ADFC67}">
          <p14:sldIdLst>
            <p14:sldId id="2147483539"/>
            <p14:sldId id="314"/>
            <p14:sldId id="2147470514"/>
            <p14:sldId id="256"/>
            <p14:sldId id="2147483541"/>
            <p14:sldId id="2147483542"/>
            <p14:sldId id="2147483543"/>
            <p14:sldId id="2147483544"/>
            <p14:sldId id="2147482294"/>
            <p14:sldId id="2147482108"/>
            <p14:sldId id="263"/>
            <p14:sldId id="264"/>
            <p14:sldId id="306"/>
            <p14:sldId id="302"/>
            <p14:sldId id="383"/>
            <p14:sldId id="258"/>
            <p14:sldId id="2147483605"/>
            <p14:sldId id="270"/>
            <p14:sldId id="279"/>
            <p14:sldId id="601"/>
            <p14:sldId id="280"/>
            <p14:sldId id="2147479570"/>
            <p14:sldId id="260"/>
            <p14:sldId id="261"/>
            <p14:sldId id="282"/>
            <p14:sldId id="262"/>
            <p14:sldId id="257"/>
            <p14:sldId id="265"/>
            <p14:sldId id="274"/>
            <p14:sldId id="2147482206"/>
            <p14:sldId id="2147483647"/>
            <p14:sldId id="319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41B3"/>
    <a:srgbClr val="42BBB6"/>
    <a:srgbClr val="36A2D6"/>
    <a:srgbClr val="F33776"/>
    <a:srgbClr val="0763B1"/>
    <a:srgbClr val="ABE098"/>
    <a:srgbClr val="FDBB9B"/>
    <a:srgbClr val="39C5F2"/>
    <a:srgbClr val="EFF8FF"/>
    <a:srgbClr val="D9E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1EB969-207B-4C0C-BD5E-4F5A714925D3}" v="8" dt="2024-10-31T08:42:28.041"/>
    <p1510:client id="{8D7EECB5-D624-4399-8481-2408A9DC75A5}" v="9" dt="2024-10-31T09:23:49.823"/>
    <p1510:client id="{E03BE4A0-3834-4AE9-B739-A7DDE8E960CB}" v="1" dt="2024-10-31T07:46:59.7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727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DB921B-9AD9-4193-9031-10C9C2F16815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A0D00C-D97D-4D9F-A1A5-E7BA88B482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039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9323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Symbol,Sans-Serif"/>
              <a:buChar char="•"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6401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646FCA-D42B-FD63-92C5-805F47AAA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A9099F-638E-229C-6FF5-DCA3C29A8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68FFC4-EF2F-6806-7AE2-6BB68961B4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2984B06-776B-FE77-74A0-7088E1F7393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584E9A-F991-7DFB-23A1-ACB6BBDF5F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34FC517-B0DA-27C1-168E-B721D1D2813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7C8730-F37D-57F0-86F8-F1D19EC7B9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464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6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44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7E7C3F-570D-674B-A591-D32D552AFC0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844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7858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693F4B-43B3-47F5-B39A-44296E61D28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86580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693F4B-43B3-47F5-B39A-44296E61D28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69433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2925" y="757238"/>
            <a:ext cx="6718300" cy="37798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785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06E34-2AFF-4543-9429-368FDE16B24E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785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9020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18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4A4EC1-C524-ED45-A185-10510AA0C8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2915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1028F-6E69-E17F-F7F9-09697F5B83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AD084F-E858-E27D-319D-CFD7E2C72D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DC5623-B43C-4571-FE4C-87C9B64104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6C17C-0EA0-DA91-66C8-091236D146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4A4EC1-C524-ED45-A185-10510AA0C8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3879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E54E06-3DA0-4567-A557-9A2D7B97E8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34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5603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800" dirty="0">
              <a:solidFill>
                <a:srgbClr val="33333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5961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32B780-43C9-91B1-7F11-DE36947AC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8192F9-F1D4-0BD7-5BC8-E421812EB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A61F44-0904-3243-03D0-7F3144D7BA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948C54F-47F5-FF77-2F01-3DA0742DE70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2C5CD-CAC6-5BCA-5749-905EB00C0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E56BE53-A680-DA68-4257-BE22BE9473E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F6EECC-2BF5-C2E3-EBCA-284EC7DE8F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91261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5B09E-434C-A44A-DD64-852D1A765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076C93-C0AF-8805-EB31-F2A7821F08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EC9758-AC9D-7DD2-4543-8545ED188F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94B1FDED-324C-B8D8-26BC-EA5578138E6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9EAB80-DF4B-99BD-A841-13F3EB53B9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F3A0C62-5385-AA66-0FE9-D40D6CEDE22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64E5CB-BED7-8690-0A56-C12D604CF1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299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609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582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2886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0220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E317A1-F947-A14F-B1E9-D42013CDA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196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650293" marR="0" lvl="0" indent="0" algn="l" defTabSz="10597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844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844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618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650293" marR="0" lvl="0" indent="0" algn="l" defTabSz="10597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844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31/2024 5:05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44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844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084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2.jpe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8.jpe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3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2.jpe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21" Type="http://schemas.openxmlformats.org/officeDocument/2006/relationships/image" Target="../media/image44.pn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pn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Relationship Id="rId22" Type="http://schemas.openxmlformats.org/officeDocument/2006/relationships/hyperlink" Target="https://medium.com/azure-data-lake/connecting-your-own-hadoop-or-spark-to-azure-data-lake-store-93d426d6a5f4" TargetMode="Externa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2.jpe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8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3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2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S logo white - EMF" descr="Microsoft logo white text version">
            <a:extLst>
              <a:ext uri="{FF2B5EF4-FFF2-40B4-BE49-F238E27FC236}">
                <a16:creationId xmlns:a16="http://schemas.microsoft.com/office/drawing/2014/main" id="{F7CD6B1F-AE52-08A4-59DD-ADA3920FE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3B4BC62-442D-D07F-D062-B23F459AF590}"/>
              </a:ext>
            </a:extLst>
          </p:cNvPr>
          <p:cNvSpPr txBox="1"/>
          <p:nvPr userDrawn="1"/>
        </p:nvSpPr>
        <p:spPr>
          <a:xfrm>
            <a:off x="584200" y="2841172"/>
            <a:ext cx="3790950" cy="14957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5400" b="0">
                <a:solidFill>
                  <a:schemeClr val="bg1"/>
                </a:solidFill>
                <a:latin typeface="+mj-lt"/>
              </a:rPr>
              <a:t>Microsoft Azure</a:t>
            </a:r>
          </a:p>
        </p:txBody>
      </p:sp>
    </p:spTree>
    <p:extLst>
      <p:ext uri="{BB962C8B-B14F-4D97-AF65-F5344CB8AC3E}">
        <p14:creationId xmlns:p14="http://schemas.microsoft.com/office/powerpoint/2010/main" val="246850474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51526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5519733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87029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30A553-BFB8-57D4-AE28-9398552BB4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92" y="333"/>
            <a:ext cx="12190815" cy="68573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91F2C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rgbClr val="091F2C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04781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94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213ECED-2129-6B62-31D3-80AD61D9A4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91F2C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49189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7271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4440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8178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486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580186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6262156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2240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9B1067A-E7AA-45D2-1010-A0D1FCB96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1" name="MS logo gray - EMF" descr="Microsoft logo, gray text version">
            <a:extLst>
              <a:ext uri="{FF2B5EF4-FFF2-40B4-BE49-F238E27FC236}">
                <a16:creationId xmlns:a16="http://schemas.microsoft.com/office/drawing/2014/main" id="{F37CD61D-D807-6B33-7D19-B0A417D060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4AFC23E-201F-B57E-8828-724D2D999B22}"/>
              </a:ext>
            </a:extLst>
          </p:cNvPr>
          <p:cNvSpPr/>
          <p:nvPr userDrawn="1"/>
        </p:nvSpPr>
        <p:spPr>
          <a:xfrm>
            <a:off x="529053" y="2663856"/>
            <a:ext cx="3414297" cy="1504926"/>
          </a:xfrm>
          <a:custGeom>
            <a:avLst/>
            <a:gdLst>
              <a:gd name="connsiteX0" fmla="*/ 542449 w 3308032"/>
              <a:gd name="connsiteY0" fmla="*/ 193453 h 1458087"/>
              <a:gd name="connsiteX1" fmla="*/ 543401 w 3308032"/>
              <a:gd name="connsiteY1" fmla="*/ 148971 h 1458087"/>
              <a:gd name="connsiteX2" fmla="*/ 541211 w 3308032"/>
              <a:gd name="connsiteY2" fmla="*/ 148971 h 1458087"/>
              <a:gd name="connsiteX3" fmla="*/ 534924 w 3308032"/>
              <a:gd name="connsiteY3" fmla="*/ 168497 h 1458087"/>
              <a:gd name="connsiteX4" fmla="*/ 528257 w 3308032"/>
              <a:gd name="connsiteY4" fmla="*/ 186214 h 1458087"/>
              <a:gd name="connsiteX5" fmla="*/ 374618 w 3308032"/>
              <a:gd name="connsiteY5" fmla="*/ 572834 h 1458087"/>
              <a:gd name="connsiteX6" fmla="*/ 310229 w 3308032"/>
              <a:gd name="connsiteY6" fmla="*/ 572834 h 1458087"/>
              <a:gd name="connsiteX7" fmla="*/ 155448 w 3308032"/>
              <a:gd name="connsiteY7" fmla="*/ 189643 h 1458087"/>
              <a:gd name="connsiteX8" fmla="*/ 149352 w 3308032"/>
              <a:gd name="connsiteY8" fmla="*/ 172307 h 1458087"/>
              <a:gd name="connsiteX9" fmla="*/ 141351 w 3308032"/>
              <a:gd name="connsiteY9" fmla="*/ 149066 h 1458087"/>
              <a:gd name="connsiteX10" fmla="*/ 139160 w 3308032"/>
              <a:gd name="connsiteY10" fmla="*/ 149066 h 1458087"/>
              <a:gd name="connsiteX11" fmla="*/ 140303 w 3308032"/>
              <a:gd name="connsiteY11" fmla="*/ 195739 h 1458087"/>
              <a:gd name="connsiteX12" fmla="*/ 140684 w 3308032"/>
              <a:gd name="connsiteY12" fmla="*/ 246507 h 1458087"/>
              <a:gd name="connsiteX13" fmla="*/ 140684 w 3308032"/>
              <a:gd name="connsiteY13" fmla="*/ 572834 h 1458087"/>
              <a:gd name="connsiteX14" fmla="*/ 55817 w 3308032"/>
              <a:gd name="connsiteY14" fmla="*/ 572834 h 1458087"/>
              <a:gd name="connsiteX15" fmla="*/ 55817 w 3308032"/>
              <a:gd name="connsiteY15" fmla="*/ 39243 h 1458087"/>
              <a:gd name="connsiteX16" fmla="*/ 185642 w 3308032"/>
              <a:gd name="connsiteY16" fmla="*/ 39243 h 1458087"/>
              <a:gd name="connsiteX17" fmla="*/ 322231 w 3308032"/>
              <a:gd name="connsiteY17" fmla="*/ 383381 h 1458087"/>
              <a:gd name="connsiteX18" fmla="*/ 334709 w 3308032"/>
              <a:gd name="connsiteY18" fmla="*/ 415576 h 1458087"/>
              <a:gd name="connsiteX19" fmla="*/ 343853 w 3308032"/>
              <a:gd name="connsiteY19" fmla="*/ 444817 h 1458087"/>
              <a:gd name="connsiteX20" fmla="*/ 346043 w 3308032"/>
              <a:gd name="connsiteY20" fmla="*/ 444817 h 1458087"/>
              <a:gd name="connsiteX21" fmla="*/ 358140 w 3308032"/>
              <a:gd name="connsiteY21" fmla="*/ 412433 h 1458087"/>
              <a:gd name="connsiteX22" fmla="*/ 369475 w 3308032"/>
              <a:gd name="connsiteY22" fmla="*/ 382334 h 1458087"/>
              <a:gd name="connsiteX23" fmla="*/ 507873 w 3308032"/>
              <a:gd name="connsiteY23" fmla="*/ 39243 h 1458087"/>
              <a:gd name="connsiteX24" fmla="*/ 632555 w 3308032"/>
              <a:gd name="connsiteY24" fmla="*/ 39243 h 1458087"/>
              <a:gd name="connsiteX25" fmla="*/ 632555 w 3308032"/>
              <a:gd name="connsiteY25" fmla="*/ 572834 h 1458087"/>
              <a:gd name="connsiteX26" fmla="*/ 542163 w 3308032"/>
              <a:gd name="connsiteY26" fmla="*/ 572834 h 1458087"/>
              <a:gd name="connsiteX27" fmla="*/ 542163 w 3308032"/>
              <a:gd name="connsiteY27" fmla="*/ 234220 h 1458087"/>
              <a:gd name="connsiteX28" fmla="*/ 542735 w 3308032"/>
              <a:gd name="connsiteY28" fmla="*/ 193453 h 1458087"/>
              <a:gd name="connsiteX29" fmla="*/ 768001 w 3308032"/>
              <a:gd name="connsiteY29" fmla="*/ 14383 h 1458087"/>
              <a:gd name="connsiteX30" fmla="*/ 728567 w 3308032"/>
              <a:gd name="connsiteY30" fmla="*/ 29623 h 1458087"/>
              <a:gd name="connsiteX31" fmla="*/ 713327 w 3308032"/>
              <a:gd name="connsiteY31" fmla="*/ 67247 h 1458087"/>
              <a:gd name="connsiteX32" fmla="*/ 728567 w 3308032"/>
              <a:gd name="connsiteY32" fmla="*/ 104966 h 1458087"/>
              <a:gd name="connsiteX33" fmla="*/ 768001 w 3308032"/>
              <a:gd name="connsiteY33" fmla="*/ 120777 h 1458087"/>
              <a:gd name="connsiteX34" fmla="*/ 808196 w 3308032"/>
              <a:gd name="connsiteY34" fmla="*/ 105537 h 1458087"/>
              <a:gd name="connsiteX35" fmla="*/ 823436 w 3308032"/>
              <a:gd name="connsiteY35" fmla="*/ 67627 h 1458087"/>
              <a:gd name="connsiteX36" fmla="*/ 808196 w 3308032"/>
              <a:gd name="connsiteY36" fmla="*/ 29718 h 1458087"/>
              <a:gd name="connsiteX37" fmla="*/ 768001 w 3308032"/>
              <a:gd name="connsiteY37" fmla="*/ 14478 h 1458087"/>
              <a:gd name="connsiteX38" fmla="*/ 723329 w 3308032"/>
              <a:gd name="connsiteY38" fmla="*/ 572834 h 1458087"/>
              <a:gd name="connsiteX39" fmla="*/ 812292 w 3308032"/>
              <a:gd name="connsiteY39" fmla="*/ 572834 h 1458087"/>
              <a:gd name="connsiteX40" fmla="*/ 812292 w 3308032"/>
              <a:gd name="connsiteY40" fmla="*/ 191834 h 1458087"/>
              <a:gd name="connsiteX41" fmla="*/ 723329 w 3308032"/>
              <a:gd name="connsiteY41" fmla="*/ 191834 h 1458087"/>
              <a:gd name="connsiteX42" fmla="*/ 723329 w 3308032"/>
              <a:gd name="connsiteY42" fmla="*/ 572834 h 1458087"/>
              <a:gd name="connsiteX43" fmla="*/ 1079278 w 3308032"/>
              <a:gd name="connsiteY43" fmla="*/ 581787 h 1458087"/>
              <a:gd name="connsiteX44" fmla="*/ 1169099 w 3308032"/>
              <a:gd name="connsiteY44" fmla="*/ 561689 h 1458087"/>
              <a:gd name="connsiteX45" fmla="*/ 1234726 w 3308032"/>
              <a:gd name="connsiteY45" fmla="*/ 500253 h 1458087"/>
              <a:gd name="connsiteX46" fmla="*/ 1165860 w 3308032"/>
              <a:gd name="connsiteY46" fmla="*/ 461582 h 1458087"/>
              <a:gd name="connsiteX47" fmla="*/ 1127951 w 3308032"/>
              <a:gd name="connsiteY47" fmla="*/ 497110 h 1458087"/>
              <a:gd name="connsiteX48" fmla="*/ 1081469 w 3308032"/>
              <a:gd name="connsiteY48" fmla="*/ 507683 h 1458087"/>
              <a:gd name="connsiteX49" fmla="*/ 1004126 w 3308032"/>
              <a:gd name="connsiteY49" fmla="*/ 475298 h 1458087"/>
              <a:gd name="connsiteX50" fmla="*/ 975074 w 3308032"/>
              <a:gd name="connsiteY50" fmla="*/ 383000 h 1458087"/>
              <a:gd name="connsiteX51" fmla="*/ 1004506 w 3308032"/>
              <a:gd name="connsiteY51" fmla="*/ 288512 h 1458087"/>
              <a:gd name="connsiteX52" fmla="*/ 1079278 w 3308032"/>
              <a:gd name="connsiteY52" fmla="*/ 254699 h 1458087"/>
              <a:gd name="connsiteX53" fmla="*/ 1125379 w 3308032"/>
              <a:gd name="connsiteY53" fmla="*/ 265462 h 1458087"/>
              <a:gd name="connsiteX54" fmla="*/ 1162622 w 3308032"/>
              <a:gd name="connsiteY54" fmla="*/ 301943 h 1458087"/>
              <a:gd name="connsiteX55" fmla="*/ 1232535 w 3308032"/>
              <a:gd name="connsiteY55" fmla="*/ 267367 h 1458087"/>
              <a:gd name="connsiteX56" fmla="*/ 1172432 w 3308032"/>
              <a:gd name="connsiteY56" fmla="*/ 204311 h 1458087"/>
              <a:gd name="connsiteX57" fmla="*/ 1082231 w 3308032"/>
              <a:gd name="connsiteY57" fmla="*/ 182880 h 1458087"/>
              <a:gd name="connsiteX58" fmla="*/ 939356 w 3308032"/>
              <a:gd name="connsiteY58" fmla="*/ 238125 h 1458087"/>
              <a:gd name="connsiteX59" fmla="*/ 884301 w 3308032"/>
              <a:gd name="connsiteY59" fmla="*/ 389001 h 1458087"/>
              <a:gd name="connsiteX60" fmla="*/ 936022 w 3308032"/>
              <a:gd name="connsiteY60" fmla="*/ 528923 h 1458087"/>
              <a:gd name="connsiteX61" fmla="*/ 1079278 w 3308032"/>
              <a:gd name="connsiteY61" fmla="*/ 581787 h 1458087"/>
              <a:gd name="connsiteX62" fmla="*/ 1393031 w 3308032"/>
              <a:gd name="connsiteY62" fmla="*/ 384524 h 1458087"/>
              <a:gd name="connsiteX63" fmla="*/ 1416653 w 3308032"/>
              <a:gd name="connsiteY63" fmla="*/ 296323 h 1458087"/>
              <a:gd name="connsiteX64" fmla="*/ 1478566 w 3308032"/>
              <a:gd name="connsiteY64" fmla="*/ 262795 h 1458087"/>
              <a:gd name="connsiteX65" fmla="*/ 1501807 w 3308032"/>
              <a:gd name="connsiteY65" fmla="*/ 265176 h 1458087"/>
              <a:gd name="connsiteX66" fmla="*/ 1523619 w 3308032"/>
              <a:gd name="connsiteY66" fmla="*/ 271653 h 1458087"/>
              <a:gd name="connsiteX67" fmla="*/ 1547432 w 3308032"/>
              <a:gd name="connsiteY67" fmla="*/ 195739 h 1458087"/>
              <a:gd name="connsiteX68" fmla="*/ 1521047 w 3308032"/>
              <a:gd name="connsiteY68" fmla="*/ 187166 h 1458087"/>
              <a:gd name="connsiteX69" fmla="*/ 1494282 w 3308032"/>
              <a:gd name="connsiteY69" fmla="*/ 184975 h 1458087"/>
              <a:gd name="connsiteX70" fmla="*/ 1433989 w 3308032"/>
              <a:gd name="connsiteY70" fmla="*/ 204502 h 1458087"/>
              <a:gd name="connsiteX71" fmla="*/ 1394555 w 3308032"/>
              <a:gd name="connsiteY71" fmla="*/ 260509 h 1458087"/>
              <a:gd name="connsiteX72" fmla="*/ 1393031 w 3308032"/>
              <a:gd name="connsiteY72" fmla="*/ 260509 h 1458087"/>
              <a:gd name="connsiteX73" fmla="*/ 1393031 w 3308032"/>
              <a:gd name="connsiteY73" fmla="*/ 191643 h 1458087"/>
              <a:gd name="connsiteX74" fmla="*/ 1304068 w 3308032"/>
              <a:gd name="connsiteY74" fmla="*/ 191643 h 1458087"/>
              <a:gd name="connsiteX75" fmla="*/ 1304068 w 3308032"/>
              <a:gd name="connsiteY75" fmla="*/ 572643 h 1458087"/>
              <a:gd name="connsiteX76" fmla="*/ 1393031 w 3308032"/>
              <a:gd name="connsiteY76" fmla="*/ 572643 h 1458087"/>
              <a:gd name="connsiteX77" fmla="*/ 1393031 w 3308032"/>
              <a:gd name="connsiteY77" fmla="*/ 384334 h 1458087"/>
              <a:gd name="connsiteX78" fmla="*/ 1621917 w 3308032"/>
              <a:gd name="connsiteY78" fmla="*/ 528542 h 1458087"/>
              <a:gd name="connsiteX79" fmla="*/ 1568482 w 3308032"/>
              <a:gd name="connsiteY79" fmla="*/ 385286 h 1458087"/>
              <a:gd name="connsiteX80" fmla="*/ 1625060 w 3308032"/>
              <a:gd name="connsiteY80" fmla="*/ 238506 h 1458087"/>
              <a:gd name="connsiteX81" fmla="*/ 1771269 w 3308032"/>
              <a:gd name="connsiteY81" fmla="*/ 182880 h 1458087"/>
              <a:gd name="connsiteX82" fmla="*/ 1914335 w 3308032"/>
              <a:gd name="connsiteY82" fmla="*/ 237554 h 1458087"/>
              <a:gd name="connsiteX83" fmla="*/ 1966627 w 3308032"/>
              <a:gd name="connsiteY83" fmla="*/ 378905 h 1458087"/>
              <a:gd name="connsiteX84" fmla="*/ 1911572 w 3308032"/>
              <a:gd name="connsiteY84" fmla="*/ 524542 h 1458087"/>
              <a:gd name="connsiteX85" fmla="*/ 1766126 w 3308032"/>
              <a:gd name="connsiteY85" fmla="*/ 581692 h 1458087"/>
              <a:gd name="connsiteX86" fmla="*/ 1621917 w 3308032"/>
              <a:gd name="connsiteY86" fmla="*/ 528447 h 1458087"/>
              <a:gd name="connsiteX87" fmla="*/ 1659350 w 3308032"/>
              <a:gd name="connsiteY87" fmla="*/ 383477 h 1458087"/>
              <a:gd name="connsiteX88" fmla="*/ 1688973 w 3308032"/>
              <a:gd name="connsiteY88" fmla="*/ 476155 h 1458087"/>
              <a:gd name="connsiteX89" fmla="*/ 1769555 w 3308032"/>
              <a:gd name="connsiteY89" fmla="*/ 509969 h 1458087"/>
              <a:gd name="connsiteX90" fmla="*/ 1847850 w 3308032"/>
              <a:gd name="connsiteY90" fmla="*/ 475012 h 1458087"/>
              <a:gd name="connsiteX91" fmla="*/ 1875568 w 3308032"/>
              <a:gd name="connsiteY91" fmla="*/ 381286 h 1458087"/>
              <a:gd name="connsiteX92" fmla="*/ 1847660 w 3308032"/>
              <a:gd name="connsiteY92" fmla="*/ 289750 h 1458087"/>
              <a:gd name="connsiteX93" fmla="*/ 1769174 w 3308032"/>
              <a:gd name="connsiteY93" fmla="*/ 255175 h 1458087"/>
              <a:gd name="connsiteX94" fmla="*/ 1689354 w 3308032"/>
              <a:gd name="connsiteY94" fmla="*/ 290894 h 1458087"/>
              <a:gd name="connsiteX95" fmla="*/ 1659446 w 3308032"/>
              <a:gd name="connsiteY95" fmla="*/ 383572 h 1458087"/>
              <a:gd name="connsiteX96" fmla="*/ 2267426 w 3308032"/>
              <a:gd name="connsiteY96" fmla="*/ 547878 h 1458087"/>
              <a:gd name="connsiteX97" fmla="*/ 2308003 w 3308032"/>
              <a:gd name="connsiteY97" fmla="*/ 458915 h 1458087"/>
              <a:gd name="connsiteX98" fmla="*/ 2276761 w 3308032"/>
              <a:gd name="connsiteY98" fmla="*/ 380048 h 1458087"/>
              <a:gd name="connsiteX99" fmla="*/ 2182273 w 3308032"/>
              <a:gd name="connsiteY99" fmla="*/ 339471 h 1458087"/>
              <a:gd name="connsiteX100" fmla="*/ 2127028 w 3308032"/>
              <a:gd name="connsiteY100" fmla="*/ 321278 h 1458087"/>
              <a:gd name="connsiteX101" fmla="*/ 2112359 w 3308032"/>
              <a:gd name="connsiteY101" fmla="*/ 292227 h 1458087"/>
              <a:gd name="connsiteX102" fmla="*/ 2126456 w 3308032"/>
              <a:gd name="connsiteY102" fmla="*/ 261366 h 1458087"/>
              <a:gd name="connsiteX103" fmla="*/ 2167795 w 3308032"/>
              <a:gd name="connsiteY103" fmla="*/ 249460 h 1458087"/>
              <a:gd name="connsiteX104" fmla="*/ 2211515 w 3308032"/>
              <a:gd name="connsiteY104" fmla="*/ 258413 h 1458087"/>
              <a:gd name="connsiteX105" fmla="*/ 2247043 w 3308032"/>
              <a:gd name="connsiteY105" fmla="*/ 285179 h 1458087"/>
              <a:gd name="connsiteX106" fmla="*/ 2298764 w 3308032"/>
              <a:gd name="connsiteY106" fmla="*/ 238316 h 1458087"/>
              <a:gd name="connsiteX107" fmla="*/ 2243328 w 3308032"/>
              <a:gd name="connsiteY107" fmla="*/ 196596 h 1458087"/>
              <a:gd name="connsiteX108" fmla="*/ 2170367 w 3308032"/>
              <a:gd name="connsiteY108" fmla="*/ 182785 h 1458087"/>
              <a:gd name="connsiteX109" fmla="*/ 2069211 w 3308032"/>
              <a:gd name="connsiteY109" fmla="*/ 214598 h 1458087"/>
              <a:gd name="connsiteX110" fmla="*/ 2029015 w 3308032"/>
              <a:gd name="connsiteY110" fmla="*/ 302228 h 1458087"/>
              <a:gd name="connsiteX111" fmla="*/ 2058638 w 3308032"/>
              <a:gd name="connsiteY111" fmla="*/ 375380 h 1458087"/>
              <a:gd name="connsiteX112" fmla="*/ 2163032 w 3308032"/>
              <a:gd name="connsiteY112" fmla="*/ 417957 h 1458087"/>
              <a:gd name="connsiteX113" fmla="*/ 2208943 w 3308032"/>
              <a:gd name="connsiteY113" fmla="*/ 435959 h 1458087"/>
              <a:gd name="connsiteX114" fmla="*/ 2224373 w 3308032"/>
              <a:gd name="connsiteY114" fmla="*/ 467011 h 1458087"/>
              <a:gd name="connsiteX115" fmla="*/ 2207990 w 3308032"/>
              <a:gd name="connsiteY115" fmla="*/ 502158 h 1458087"/>
              <a:gd name="connsiteX116" fmla="*/ 2162271 w 3308032"/>
              <a:gd name="connsiteY116" fmla="*/ 514636 h 1458087"/>
              <a:gd name="connsiteX117" fmla="*/ 2112645 w 3308032"/>
              <a:gd name="connsiteY117" fmla="*/ 502920 h 1458087"/>
              <a:gd name="connsiteX118" fmla="*/ 2068163 w 3308032"/>
              <a:gd name="connsiteY118" fmla="*/ 463677 h 1458087"/>
              <a:gd name="connsiteX119" fmla="*/ 2014633 w 3308032"/>
              <a:gd name="connsiteY119" fmla="*/ 511683 h 1458087"/>
              <a:gd name="connsiteX120" fmla="*/ 2074926 w 3308032"/>
              <a:gd name="connsiteY120" fmla="*/ 563785 h 1458087"/>
              <a:gd name="connsiteX121" fmla="*/ 2161604 w 3308032"/>
              <a:gd name="connsiteY121" fmla="*/ 581692 h 1458087"/>
              <a:gd name="connsiteX122" fmla="*/ 2267617 w 3308032"/>
              <a:gd name="connsiteY122" fmla="*/ 547878 h 1458087"/>
              <a:gd name="connsiteX123" fmla="*/ 2717292 w 3308032"/>
              <a:gd name="connsiteY123" fmla="*/ 237554 h 1458087"/>
              <a:gd name="connsiteX124" fmla="*/ 2769584 w 3308032"/>
              <a:gd name="connsiteY124" fmla="*/ 378905 h 1458087"/>
              <a:gd name="connsiteX125" fmla="*/ 2714530 w 3308032"/>
              <a:gd name="connsiteY125" fmla="*/ 524542 h 1458087"/>
              <a:gd name="connsiteX126" fmla="*/ 2569083 w 3308032"/>
              <a:gd name="connsiteY126" fmla="*/ 581692 h 1458087"/>
              <a:gd name="connsiteX127" fmla="*/ 2424875 w 3308032"/>
              <a:gd name="connsiteY127" fmla="*/ 528447 h 1458087"/>
              <a:gd name="connsiteX128" fmla="*/ 2371439 w 3308032"/>
              <a:gd name="connsiteY128" fmla="*/ 385191 h 1458087"/>
              <a:gd name="connsiteX129" fmla="*/ 2428018 w 3308032"/>
              <a:gd name="connsiteY129" fmla="*/ 238411 h 1458087"/>
              <a:gd name="connsiteX130" fmla="*/ 2574227 w 3308032"/>
              <a:gd name="connsiteY130" fmla="*/ 182785 h 1458087"/>
              <a:gd name="connsiteX131" fmla="*/ 2717292 w 3308032"/>
              <a:gd name="connsiteY131" fmla="*/ 237458 h 1458087"/>
              <a:gd name="connsiteX132" fmla="*/ 2678430 w 3308032"/>
              <a:gd name="connsiteY132" fmla="*/ 381191 h 1458087"/>
              <a:gd name="connsiteX133" fmla="*/ 2650522 w 3308032"/>
              <a:gd name="connsiteY133" fmla="*/ 289655 h 1458087"/>
              <a:gd name="connsiteX134" fmla="*/ 2572036 w 3308032"/>
              <a:gd name="connsiteY134" fmla="*/ 255079 h 1458087"/>
              <a:gd name="connsiteX135" fmla="*/ 2492216 w 3308032"/>
              <a:gd name="connsiteY135" fmla="*/ 290798 h 1458087"/>
              <a:gd name="connsiteX136" fmla="*/ 2462308 w 3308032"/>
              <a:gd name="connsiteY136" fmla="*/ 383477 h 1458087"/>
              <a:gd name="connsiteX137" fmla="*/ 2491931 w 3308032"/>
              <a:gd name="connsiteY137" fmla="*/ 476155 h 1458087"/>
              <a:gd name="connsiteX138" fmla="*/ 2572512 w 3308032"/>
              <a:gd name="connsiteY138" fmla="*/ 509969 h 1458087"/>
              <a:gd name="connsiteX139" fmla="*/ 2650808 w 3308032"/>
              <a:gd name="connsiteY139" fmla="*/ 475012 h 1458087"/>
              <a:gd name="connsiteX140" fmla="*/ 2678525 w 3308032"/>
              <a:gd name="connsiteY140" fmla="*/ 381286 h 1458087"/>
              <a:gd name="connsiteX141" fmla="*/ 3280410 w 3308032"/>
              <a:gd name="connsiteY141" fmla="*/ 494729 h 1458087"/>
              <a:gd name="connsiteX142" fmla="*/ 3257360 w 3308032"/>
              <a:gd name="connsiteY142" fmla="*/ 507397 h 1458087"/>
              <a:gd name="connsiteX143" fmla="*/ 3236500 w 3308032"/>
              <a:gd name="connsiteY143" fmla="*/ 511112 h 1458087"/>
              <a:gd name="connsiteX144" fmla="*/ 3205258 w 3308032"/>
              <a:gd name="connsiteY144" fmla="*/ 497872 h 1458087"/>
              <a:gd name="connsiteX145" fmla="*/ 3194114 w 3308032"/>
              <a:gd name="connsiteY145" fmla="*/ 456724 h 1458087"/>
              <a:gd name="connsiteX146" fmla="*/ 3194114 w 3308032"/>
              <a:gd name="connsiteY146" fmla="*/ 260985 h 1458087"/>
              <a:gd name="connsiteX147" fmla="*/ 3291269 w 3308032"/>
              <a:gd name="connsiteY147" fmla="*/ 260985 h 1458087"/>
              <a:gd name="connsiteX148" fmla="*/ 3291269 w 3308032"/>
              <a:gd name="connsiteY148" fmla="*/ 191738 h 1458087"/>
              <a:gd name="connsiteX149" fmla="*/ 3194114 w 3308032"/>
              <a:gd name="connsiteY149" fmla="*/ 191738 h 1458087"/>
              <a:gd name="connsiteX150" fmla="*/ 3194114 w 3308032"/>
              <a:gd name="connsiteY150" fmla="*/ 82677 h 1458087"/>
              <a:gd name="connsiteX151" fmla="*/ 3105150 w 3308032"/>
              <a:gd name="connsiteY151" fmla="*/ 98298 h 1458087"/>
              <a:gd name="connsiteX152" fmla="*/ 3105150 w 3308032"/>
              <a:gd name="connsiteY152" fmla="*/ 191643 h 1458087"/>
              <a:gd name="connsiteX153" fmla="*/ 2957227 w 3308032"/>
              <a:gd name="connsiteY153" fmla="*/ 191643 h 1458087"/>
              <a:gd name="connsiteX154" fmla="*/ 2957227 w 3308032"/>
              <a:gd name="connsiteY154" fmla="*/ 130969 h 1458087"/>
              <a:gd name="connsiteX155" fmla="*/ 2970086 w 3308032"/>
              <a:gd name="connsiteY155" fmla="*/ 86297 h 1458087"/>
              <a:gd name="connsiteX156" fmla="*/ 3006757 w 3308032"/>
              <a:gd name="connsiteY156" fmla="*/ 71438 h 1458087"/>
              <a:gd name="connsiteX157" fmla="*/ 3029236 w 3308032"/>
              <a:gd name="connsiteY157" fmla="*/ 74962 h 1458087"/>
              <a:gd name="connsiteX158" fmla="*/ 3049143 w 3308032"/>
              <a:gd name="connsiteY158" fmla="*/ 84868 h 1458087"/>
              <a:gd name="connsiteX159" fmla="*/ 3085624 w 3308032"/>
              <a:gd name="connsiteY159" fmla="*/ 20479 h 1458087"/>
              <a:gd name="connsiteX160" fmla="*/ 3045429 w 3308032"/>
              <a:gd name="connsiteY160" fmla="*/ 5048 h 1458087"/>
              <a:gd name="connsiteX161" fmla="*/ 3003042 w 3308032"/>
              <a:gd name="connsiteY161" fmla="*/ 0 h 1458087"/>
              <a:gd name="connsiteX162" fmla="*/ 2903887 w 3308032"/>
              <a:gd name="connsiteY162" fmla="*/ 34957 h 1458087"/>
              <a:gd name="connsiteX163" fmla="*/ 2868740 w 3308032"/>
              <a:gd name="connsiteY163" fmla="*/ 130207 h 1458087"/>
              <a:gd name="connsiteX164" fmla="*/ 2868740 w 3308032"/>
              <a:gd name="connsiteY164" fmla="*/ 191643 h 1458087"/>
              <a:gd name="connsiteX165" fmla="*/ 2803970 w 3308032"/>
              <a:gd name="connsiteY165" fmla="*/ 191643 h 1458087"/>
              <a:gd name="connsiteX166" fmla="*/ 2803970 w 3308032"/>
              <a:gd name="connsiteY166" fmla="*/ 260890 h 1458087"/>
              <a:gd name="connsiteX167" fmla="*/ 2868740 w 3308032"/>
              <a:gd name="connsiteY167" fmla="*/ 260890 h 1458087"/>
              <a:gd name="connsiteX168" fmla="*/ 2868740 w 3308032"/>
              <a:gd name="connsiteY168" fmla="*/ 572643 h 1458087"/>
              <a:gd name="connsiteX169" fmla="*/ 2957322 w 3308032"/>
              <a:gd name="connsiteY169" fmla="*/ 572643 h 1458087"/>
              <a:gd name="connsiteX170" fmla="*/ 2957322 w 3308032"/>
              <a:gd name="connsiteY170" fmla="*/ 260890 h 1458087"/>
              <a:gd name="connsiteX171" fmla="*/ 3105246 w 3308032"/>
              <a:gd name="connsiteY171" fmla="*/ 260890 h 1458087"/>
              <a:gd name="connsiteX172" fmla="*/ 3105246 w 3308032"/>
              <a:gd name="connsiteY172" fmla="*/ 469297 h 1458087"/>
              <a:gd name="connsiteX173" fmla="*/ 3133535 w 3308032"/>
              <a:gd name="connsiteY173" fmla="*/ 553022 h 1458087"/>
              <a:gd name="connsiteX174" fmla="*/ 3218021 w 3308032"/>
              <a:gd name="connsiteY174" fmla="*/ 581692 h 1458087"/>
              <a:gd name="connsiteX175" fmla="*/ 3269171 w 3308032"/>
              <a:gd name="connsiteY175" fmla="*/ 574453 h 1458087"/>
              <a:gd name="connsiteX176" fmla="*/ 3308033 w 3308032"/>
              <a:gd name="connsiteY176" fmla="*/ 554926 h 1458087"/>
              <a:gd name="connsiteX177" fmla="*/ 3280505 w 3308032"/>
              <a:gd name="connsiteY177" fmla="*/ 494633 h 1458087"/>
              <a:gd name="connsiteX178" fmla="*/ 301181 w 3308032"/>
              <a:gd name="connsiteY178" fmla="*/ 915543 h 1458087"/>
              <a:gd name="connsiteX179" fmla="*/ 497300 w 3308032"/>
              <a:gd name="connsiteY179" fmla="*/ 1449134 h 1458087"/>
              <a:gd name="connsiteX180" fmla="*/ 399860 w 3308032"/>
              <a:gd name="connsiteY180" fmla="*/ 1449134 h 1458087"/>
              <a:gd name="connsiteX181" fmla="*/ 354139 w 3308032"/>
              <a:gd name="connsiteY181" fmla="*/ 1324166 h 1458087"/>
              <a:gd name="connsiteX182" fmla="*/ 140970 w 3308032"/>
              <a:gd name="connsiteY182" fmla="*/ 1324166 h 1458087"/>
              <a:gd name="connsiteX183" fmla="*/ 97441 w 3308032"/>
              <a:gd name="connsiteY183" fmla="*/ 1449134 h 1458087"/>
              <a:gd name="connsiteX184" fmla="*/ 0 w 3308032"/>
              <a:gd name="connsiteY184" fmla="*/ 1449134 h 1458087"/>
              <a:gd name="connsiteX185" fmla="*/ 197930 w 3308032"/>
              <a:gd name="connsiteY185" fmla="*/ 915543 h 1458087"/>
              <a:gd name="connsiteX186" fmla="*/ 301371 w 3308032"/>
              <a:gd name="connsiteY186" fmla="*/ 915543 h 1458087"/>
              <a:gd name="connsiteX187" fmla="*/ 329851 w 3308032"/>
              <a:gd name="connsiteY187" fmla="*/ 1247108 h 1458087"/>
              <a:gd name="connsiteX188" fmla="*/ 257651 w 3308032"/>
              <a:gd name="connsiteY188" fmla="*/ 1037654 h 1458087"/>
              <a:gd name="connsiteX189" fmla="*/ 252984 w 3308032"/>
              <a:gd name="connsiteY189" fmla="*/ 1022795 h 1458087"/>
              <a:gd name="connsiteX190" fmla="*/ 248317 w 3308032"/>
              <a:gd name="connsiteY190" fmla="*/ 1006412 h 1458087"/>
              <a:gd name="connsiteX191" fmla="*/ 246126 w 3308032"/>
              <a:gd name="connsiteY191" fmla="*/ 1006412 h 1458087"/>
              <a:gd name="connsiteX192" fmla="*/ 241459 w 3308032"/>
              <a:gd name="connsiteY192" fmla="*/ 1022223 h 1458087"/>
              <a:gd name="connsiteX193" fmla="*/ 236411 w 3308032"/>
              <a:gd name="connsiteY193" fmla="*/ 1037654 h 1458087"/>
              <a:gd name="connsiteX194" fmla="*/ 164973 w 3308032"/>
              <a:gd name="connsiteY194" fmla="*/ 1247108 h 1458087"/>
              <a:gd name="connsiteX195" fmla="*/ 329756 w 3308032"/>
              <a:gd name="connsiteY195" fmla="*/ 1247108 h 1458087"/>
              <a:gd name="connsiteX196" fmla="*/ 557403 w 3308032"/>
              <a:gd name="connsiteY196" fmla="*/ 1449134 h 1458087"/>
              <a:gd name="connsiteX197" fmla="*/ 648557 w 3308032"/>
              <a:gd name="connsiteY197" fmla="*/ 1449134 h 1458087"/>
              <a:gd name="connsiteX198" fmla="*/ 648557 w 3308032"/>
              <a:gd name="connsiteY198" fmla="*/ 915543 h 1458087"/>
              <a:gd name="connsiteX199" fmla="*/ 557403 w 3308032"/>
              <a:gd name="connsiteY199" fmla="*/ 915543 h 1458087"/>
              <a:gd name="connsiteX200" fmla="*/ 557403 w 3308032"/>
              <a:gd name="connsiteY200" fmla="*/ 1449134 h 1458087"/>
              <a:gd name="connsiteX201" fmla="*/ 1271778 w 3308032"/>
              <a:gd name="connsiteY201" fmla="*/ 915543 h 1458087"/>
              <a:gd name="connsiteX202" fmla="*/ 883730 w 3308032"/>
              <a:gd name="connsiteY202" fmla="*/ 915543 h 1458087"/>
              <a:gd name="connsiteX203" fmla="*/ 883730 w 3308032"/>
              <a:gd name="connsiteY203" fmla="*/ 992600 h 1458087"/>
              <a:gd name="connsiteX204" fmla="*/ 1031843 w 3308032"/>
              <a:gd name="connsiteY204" fmla="*/ 992600 h 1458087"/>
              <a:gd name="connsiteX205" fmla="*/ 1031843 w 3308032"/>
              <a:gd name="connsiteY205" fmla="*/ 1449134 h 1458087"/>
              <a:gd name="connsiteX206" fmla="*/ 1122998 w 3308032"/>
              <a:gd name="connsiteY206" fmla="*/ 1449134 h 1458087"/>
              <a:gd name="connsiteX207" fmla="*/ 1122998 w 3308032"/>
              <a:gd name="connsiteY207" fmla="*/ 992600 h 1458087"/>
              <a:gd name="connsiteX208" fmla="*/ 1271778 w 3308032"/>
              <a:gd name="connsiteY208" fmla="*/ 992600 h 1458087"/>
              <a:gd name="connsiteX209" fmla="*/ 1271778 w 3308032"/>
              <a:gd name="connsiteY209" fmla="*/ 915543 h 1458087"/>
              <a:gd name="connsiteX210" fmla="*/ 1581340 w 3308032"/>
              <a:gd name="connsiteY210" fmla="*/ 1113854 h 1458087"/>
              <a:gd name="connsiteX211" fmla="*/ 1633633 w 3308032"/>
              <a:gd name="connsiteY211" fmla="*/ 1255205 h 1458087"/>
              <a:gd name="connsiteX212" fmla="*/ 1578578 w 3308032"/>
              <a:gd name="connsiteY212" fmla="*/ 1400842 h 1458087"/>
              <a:gd name="connsiteX213" fmla="*/ 1433132 w 3308032"/>
              <a:gd name="connsiteY213" fmla="*/ 1457992 h 1458087"/>
              <a:gd name="connsiteX214" fmla="*/ 1288923 w 3308032"/>
              <a:gd name="connsiteY214" fmla="*/ 1404747 h 1458087"/>
              <a:gd name="connsiteX215" fmla="*/ 1235488 w 3308032"/>
              <a:gd name="connsiteY215" fmla="*/ 1261491 h 1458087"/>
              <a:gd name="connsiteX216" fmla="*/ 1292066 w 3308032"/>
              <a:gd name="connsiteY216" fmla="*/ 1114711 h 1458087"/>
              <a:gd name="connsiteX217" fmla="*/ 1438275 w 3308032"/>
              <a:gd name="connsiteY217" fmla="*/ 1059085 h 1458087"/>
              <a:gd name="connsiteX218" fmla="*/ 1581340 w 3308032"/>
              <a:gd name="connsiteY218" fmla="*/ 1113758 h 1458087"/>
              <a:gd name="connsiteX219" fmla="*/ 1542479 w 3308032"/>
              <a:gd name="connsiteY219" fmla="*/ 1257491 h 1458087"/>
              <a:gd name="connsiteX220" fmla="*/ 1514570 w 3308032"/>
              <a:gd name="connsiteY220" fmla="*/ 1165955 h 1458087"/>
              <a:gd name="connsiteX221" fmla="*/ 1436084 w 3308032"/>
              <a:gd name="connsiteY221" fmla="*/ 1131380 h 1458087"/>
              <a:gd name="connsiteX222" fmla="*/ 1356265 w 3308032"/>
              <a:gd name="connsiteY222" fmla="*/ 1167098 h 1458087"/>
              <a:gd name="connsiteX223" fmla="*/ 1326356 w 3308032"/>
              <a:gd name="connsiteY223" fmla="*/ 1259777 h 1458087"/>
              <a:gd name="connsiteX224" fmla="*/ 1355979 w 3308032"/>
              <a:gd name="connsiteY224" fmla="*/ 1352455 h 1458087"/>
              <a:gd name="connsiteX225" fmla="*/ 1436561 w 3308032"/>
              <a:gd name="connsiteY225" fmla="*/ 1386269 h 1458087"/>
              <a:gd name="connsiteX226" fmla="*/ 1514856 w 3308032"/>
              <a:gd name="connsiteY226" fmla="*/ 1351312 h 1458087"/>
              <a:gd name="connsiteX227" fmla="*/ 1542574 w 3308032"/>
              <a:gd name="connsiteY227" fmla="*/ 1257586 h 1458087"/>
              <a:gd name="connsiteX228" fmla="*/ 1951577 w 3308032"/>
              <a:gd name="connsiteY228" fmla="*/ 1285399 h 1458087"/>
              <a:gd name="connsiteX229" fmla="*/ 1926622 w 3308032"/>
              <a:gd name="connsiteY229" fmla="*/ 1357598 h 1458087"/>
              <a:gd name="connsiteX230" fmla="*/ 1862233 w 3308032"/>
              <a:gd name="connsiteY230" fmla="*/ 1386269 h 1458087"/>
              <a:gd name="connsiteX231" fmla="*/ 1805273 w 3308032"/>
              <a:gd name="connsiteY231" fmla="*/ 1362266 h 1458087"/>
              <a:gd name="connsiteX232" fmla="*/ 1787081 w 3308032"/>
              <a:gd name="connsiteY232" fmla="*/ 1290638 h 1458087"/>
              <a:gd name="connsiteX233" fmla="*/ 1787081 w 3308032"/>
              <a:gd name="connsiteY233" fmla="*/ 1068134 h 1458087"/>
              <a:gd name="connsiteX234" fmla="*/ 1698498 w 3308032"/>
              <a:gd name="connsiteY234" fmla="*/ 1068134 h 1458087"/>
              <a:gd name="connsiteX235" fmla="*/ 1698498 w 3308032"/>
              <a:gd name="connsiteY235" fmla="*/ 1302544 h 1458087"/>
              <a:gd name="connsiteX236" fmla="*/ 1732502 w 3308032"/>
              <a:gd name="connsiteY236" fmla="*/ 1418463 h 1458087"/>
              <a:gd name="connsiteX237" fmla="*/ 1833563 w 3308032"/>
              <a:gd name="connsiteY237" fmla="*/ 1458087 h 1458087"/>
              <a:gd name="connsiteX238" fmla="*/ 1899571 w 3308032"/>
              <a:gd name="connsiteY238" fmla="*/ 1441514 h 1458087"/>
              <a:gd name="connsiteX239" fmla="*/ 1949577 w 3308032"/>
              <a:gd name="connsiteY239" fmla="*/ 1397413 h 1458087"/>
              <a:gd name="connsiteX240" fmla="*/ 1951482 w 3308032"/>
              <a:gd name="connsiteY240" fmla="*/ 1397413 h 1458087"/>
              <a:gd name="connsiteX241" fmla="*/ 1951482 w 3308032"/>
              <a:gd name="connsiteY241" fmla="*/ 1449134 h 1458087"/>
              <a:gd name="connsiteX242" fmla="*/ 2040446 w 3308032"/>
              <a:gd name="connsiteY242" fmla="*/ 1449134 h 1458087"/>
              <a:gd name="connsiteX243" fmla="*/ 2040446 w 3308032"/>
              <a:gd name="connsiteY243" fmla="*/ 1068134 h 1458087"/>
              <a:gd name="connsiteX244" fmla="*/ 1951482 w 3308032"/>
              <a:gd name="connsiteY244" fmla="*/ 1068134 h 1458087"/>
              <a:gd name="connsiteX245" fmla="*/ 1951482 w 3308032"/>
              <a:gd name="connsiteY245" fmla="*/ 1285399 h 1458087"/>
              <a:gd name="connsiteX246" fmla="*/ 2326767 w 3308032"/>
              <a:gd name="connsiteY246" fmla="*/ 1061466 h 1458087"/>
              <a:gd name="connsiteX247" fmla="*/ 2266474 w 3308032"/>
              <a:gd name="connsiteY247" fmla="*/ 1080992 h 1458087"/>
              <a:gd name="connsiteX248" fmla="*/ 2227040 w 3308032"/>
              <a:gd name="connsiteY248" fmla="*/ 1136999 h 1458087"/>
              <a:gd name="connsiteX249" fmla="*/ 2225516 w 3308032"/>
              <a:gd name="connsiteY249" fmla="*/ 1136999 h 1458087"/>
              <a:gd name="connsiteX250" fmla="*/ 2225516 w 3308032"/>
              <a:gd name="connsiteY250" fmla="*/ 1068134 h 1458087"/>
              <a:gd name="connsiteX251" fmla="*/ 2136553 w 3308032"/>
              <a:gd name="connsiteY251" fmla="*/ 1068134 h 1458087"/>
              <a:gd name="connsiteX252" fmla="*/ 2136553 w 3308032"/>
              <a:gd name="connsiteY252" fmla="*/ 1449134 h 1458087"/>
              <a:gd name="connsiteX253" fmla="*/ 2225516 w 3308032"/>
              <a:gd name="connsiteY253" fmla="*/ 1449134 h 1458087"/>
              <a:gd name="connsiteX254" fmla="*/ 2225516 w 3308032"/>
              <a:gd name="connsiteY254" fmla="*/ 1260824 h 1458087"/>
              <a:gd name="connsiteX255" fmla="*/ 2249138 w 3308032"/>
              <a:gd name="connsiteY255" fmla="*/ 1172623 h 1458087"/>
              <a:gd name="connsiteX256" fmla="*/ 2311051 w 3308032"/>
              <a:gd name="connsiteY256" fmla="*/ 1139095 h 1458087"/>
              <a:gd name="connsiteX257" fmla="*/ 2334292 w 3308032"/>
              <a:gd name="connsiteY257" fmla="*/ 1141476 h 1458087"/>
              <a:gd name="connsiteX258" fmla="*/ 2356104 w 3308032"/>
              <a:gd name="connsiteY258" fmla="*/ 1147953 h 1458087"/>
              <a:gd name="connsiteX259" fmla="*/ 2379917 w 3308032"/>
              <a:gd name="connsiteY259" fmla="*/ 1072039 h 1458087"/>
              <a:gd name="connsiteX260" fmla="*/ 2353532 w 3308032"/>
              <a:gd name="connsiteY260" fmla="*/ 1063466 h 1458087"/>
              <a:gd name="connsiteX261" fmla="*/ 2326767 w 3308032"/>
              <a:gd name="connsiteY261" fmla="*/ 1061276 h 1458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</a:cxnLst>
            <a:rect l="l" t="t" r="r" b="b"/>
            <a:pathLst>
              <a:path w="3308032" h="1458087">
                <a:moveTo>
                  <a:pt x="542449" y="193453"/>
                </a:moveTo>
                <a:cubicBezTo>
                  <a:pt x="542830" y="180404"/>
                  <a:pt x="543116" y="165640"/>
                  <a:pt x="543401" y="148971"/>
                </a:cubicBezTo>
                <a:lnTo>
                  <a:pt x="541211" y="148971"/>
                </a:lnTo>
                <a:cubicBezTo>
                  <a:pt x="539020" y="156400"/>
                  <a:pt x="536829" y="162877"/>
                  <a:pt x="534924" y="168497"/>
                </a:cubicBezTo>
                <a:cubicBezTo>
                  <a:pt x="532924" y="174117"/>
                  <a:pt x="530733" y="180023"/>
                  <a:pt x="528257" y="186214"/>
                </a:cubicBezTo>
                <a:lnTo>
                  <a:pt x="374618" y="572834"/>
                </a:lnTo>
                <a:lnTo>
                  <a:pt x="310229" y="572834"/>
                </a:lnTo>
                <a:lnTo>
                  <a:pt x="155448" y="189643"/>
                </a:lnTo>
                <a:cubicBezTo>
                  <a:pt x="153448" y="183928"/>
                  <a:pt x="151447" y="178213"/>
                  <a:pt x="149352" y="172307"/>
                </a:cubicBezTo>
                <a:cubicBezTo>
                  <a:pt x="147257" y="166497"/>
                  <a:pt x="144589" y="158687"/>
                  <a:pt x="141351" y="149066"/>
                </a:cubicBezTo>
                <a:lnTo>
                  <a:pt x="139160" y="149066"/>
                </a:lnTo>
                <a:cubicBezTo>
                  <a:pt x="139637" y="164497"/>
                  <a:pt x="140018" y="180023"/>
                  <a:pt x="140303" y="195739"/>
                </a:cubicBezTo>
                <a:cubicBezTo>
                  <a:pt x="140589" y="211455"/>
                  <a:pt x="140684" y="228410"/>
                  <a:pt x="140684" y="246507"/>
                </a:cubicBezTo>
                <a:lnTo>
                  <a:pt x="140684" y="572834"/>
                </a:lnTo>
                <a:lnTo>
                  <a:pt x="55817" y="572834"/>
                </a:lnTo>
                <a:lnTo>
                  <a:pt x="55817" y="39243"/>
                </a:lnTo>
                <a:lnTo>
                  <a:pt x="185642" y="39243"/>
                </a:lnTo>
                <a:lnTo>
                  <a:pt x="322231" y="383381"/>
                </a:lnTo>
                <a:cubicBezTo>
                  <a:pt x="327470" y="396050"/>
                  <a:pt x="331565" y="406813"/>
                  <a:pt x="334709" y="415576"/>
                </a:cubicBezTo>
                <a:cubicBezTo>
                  <a:pt x="337852" y="424339"/>
                  <a:pt x="340805" y="434150"/>
                  <a:pt x="343853" y="444817"/>
                </a:cubicBezTo>
                <a:lnTo>
                  <a:pt x="346043" y="444817"/>
                </a:lnTo>
                <a:cubicBezTo>
                  <a:pt x="350520" y="432911"/>
                  <a:pt x="354520" y="422148"/>
                  <a:pt x="358140" y="412433"/>
                </a:cubicBezTo>
                <a:cubicBezTo>
                  <a:pt x="361760" y="402717"/>
                  <a:pt x="365474" y="392716"/>
                  <a:pt x="369475" y="382334"/>
                </a:cubicBezTo>
                <a:lnTo>
                  <a:pt x="507873" y="39243"/>
                </a:lnTo>
                <a:lnTo>
                  <a:pt x="632555" y="39243"/>
                </a:lnTo>
                <a:lnTo>
                  <a:pt x="632555" y="572834"/>
                </a:lnTo>
                <a:lnTo>
                  <a:pt x="542163" y="572834"/>
                </a:lnTo>
                <a:lnTo>
                  <a:pt x="542163" y="234220"/>
                </a:lnTo>
                <a:cubicBezTo>
                  <a:pt x="542163" y="220123"/>
                  <a:pt x="542354" y="206502"/>
                  <a:pt x="542735" y="193453"/>
                </a:cubicBezTo>
                <a:close/>
                <a:moveTo>
                  <a:pt x="768001" y="14383"/>
                </a:moveTo>
                <a:cubicBezTo>
                  <a:pt x="751904" y="14383"/>
                  <a:pt x="738759" y="19431"/>
                  <a:pt x="728567" y="29623"/>
                </a:cubicBezTo>
                <a:cubicBezTo>
                  <a:pt x="718376" y="39815"/>
                  <a:pt x="713327" y="52292"/>
                  <a:pt x="713327" y="67247"/>
                </a:cubicBezTo>
                <a:cubicBezTo>
                  <a:pt x="713327" y="82201"/>
                  <a:pt x="718376" y="94488"/>
                  <a:pt x="728567" y="104966"/>
                </a:cubicBezTo>
                <a:cubicBezTo>
                  <a:pt x="738759" y="115538"/>
                  <a:pt x="751904" y="120777"/>
                  <a:pt x="768001" y="120777"/>
                </a:cubicBezTo>
                <a:cubicBezTo>
                  <a:pt x="784098" y="120777"/>
                  <a:pt x="798005" y="115729"/>
                  <a:pt x="808196" y="105537"/>
                </a:cubicBezTo>
                <a:cubicBezTo>
                  <a:pt x="818388" y="95345"/>
                  <a:pt x="823436" y="82677"/>
                  <a:pt x="823436" y="67627"/>
                </a:cubicBezTo>
                <a:cubicBezTo>
                  <a:pt x="823436" y="52578"/>
                  <a:pt x="818388" y="39815"/>
                  <a:pt x="808196" y="29718"/>
                </a:cubicBezTo>
                <a:cubicBezTo>
                  <a:pt x="798005" y="19526"/>
                  <a:pt x="784669" y="14478"/>
                  <a:pt x="768001" y="14478"/>
                </a:cubicBezTo>
                <a:close/>
                <a:moveTo>
                  <a:pt x="723329" y="572834"/>
                </a:moveTo>
                <a:lnTo>
                  <a:pt x="812292" y="572834"/>
                </a:lnTo>
                <a:lnTo>
                  <a:pt x="812292" y="191834"/>
                </a:lnTo>
                <a:lnTo>
                  <a:pt x="723329" y="191834"/>
                </a:lnTo>
                <a:lnTo>
                  <a:pt x="723329" y="572834"/>
                </a:lnTo>
                <a:close/>
                <a:moveTo>
                  <a:pt x="1079278" y="581787"/>
                </a:moveTo>
                <a:cubicBezTo>
                  <a:pt x="1112234" y="581787"/>
                  <a:pt x="1142238" y="575120"/>
                  <a:pt x="1169099" y="561689"/>
                </a:cubicBezTo>
                <a:cubicBezTo>
                  <a:pt x="1195959" y="548259"/>
                  <a:pt x="1217867" y="527876"/>
                  <a:pt x="1234726" y="500253"/>
                </a:cubicBezTo>
                <a:lnTo>
                  <a:pt x="1165860" y="461582"/>
                </a:lnTo>
                <a:cubicBezTo>
                  <a:pt x="1154716" y="478250"/>
                  <a:pt x="1142048" y="490061"/>
                  <a:pt x="1127951" y="497110"/>
                </a:cubicBezTo>
                <a:cubicBezTo>
                  <a:pt x="1113854" y="504158"/>
                  <a:pt x="1098328" y="507683"/>
                  <a:pt x="1081469" y="507683"/>
                </a:cubicBezTo>
                <a:cubicBezTo>
                  <a:pt x="1049179" y="507683"/>
                  <a:pt x="1023461" y="496919"/>
                  <a:pt x="1004126" y="475298"/>
                </a:cubicBezTo>
                <a:cubicBezTo>
                  <a:pt x="984790" y="453676"/>
                  <a:pt x="975074" y="423005"/>
                  <a:pt x="975074" y="383000"/>
                </a:cubicBezTo>
                <a:cubicBezTo>
                  <a:pt x="975074" y="342995"/>
                  <a:pt x="984885" y="311087"/>
                  <a:pt x="1004506" y="288512"/>
                </a:cubicBezTo>
                <a:cubicBezTo>
                  <a:pt x="1024128" y="265938"/>
                  <a:pt x="1048988" y="254699"/>
                  <a:pt x="1079278" y="254699"/>
                </a:cubicBezTo>
                <a:cubicBezTo>
                  <a:pt x="1096613" y="254699"/>
                  <a:pt x="1112044" y="258318"/>
                  <a:pt x="1125379" y="265462"/>
                </a:cubicBezTo>
                <a:cubicBezTo>
                  <a:pt x="1138809" y="272701"/>
                  <a:pt x="1151192" y="284798"/>
                  <a:pt x="1162622" y="301943"/>
                </a:cubicBezTo>
                <a:lnTo>
                  <a:pt x="1232535" y="267367"/>
                </a:lnTo>
                <a:cubicBezTo>
                  <a:pt x="1219105" y="239554"/>
                  <a:pt x="1199102" y="218599"/>
                  <a:pt x="1172432" y="204311"/>
                </a:cubicBezTo>
                <a:cubicBezTo>
                  <a:pt x="1145762" y="190024"/>
                  <a:pt x="1115663" y="182880"/>
                  <a:pt x="1082231" y="182880"/>
                </a:cubicBezTo>
                <a:cubicBezTo>
                  <a:pt x="1023652" y="182880"/>
                  <a:pt x="976027" y="201263"/>
                  <a:pt x="939356" y="238125"/>
                </a:cubicBezTo>
                <a:cubicBezTo>
                  <a:pt x="902589" y="274987"/>
                  <a:pt x="884301" y="325279"/>
                  <a:pt x="884301" y="389001"/>
                </a:cubicBezTo>
                <a:cubicBezTo>
                  <a:pt x="884301" y="447008"/>
                  <a:pt x="901541" y="493681"/>
                  <a:pt x="936022" y="528923"/>
                </a:cubicBezTo>
                <a:cubicBezTo>
                  <a:pt x="970502" y="564166"/>
                  <a:pt x="1018223" y="581787"/>
                  <a:pt x="1079278" y="581787"/>
                </a:cubicBezTo>
                <a:close/>
                <a:moveTo>
                  <a:pt x="1393031" y="384524"/>
                </a:moveTo>
                <a:cubicBezTo>
                  <a:pt x="1393031" y="348044"/>
                  <a:pt x="1400937" y="318707"/>
                  <a:pt x="1416653" y="296323"/>
                </a:cubicBezTo>
                <a:cubicBezTo>
                  <a:pt x="1432370" y="274034"/>
                  <a:pt x="1453039" y="262795"/>
                  <a:pt x="1478566" y="262795"/>
                </a:cubicBezTo>
                <a:cubicBezTo>
                  <a:pt x="1486757" y="262795"/>
                  <a:pt x="1494473" y="263557"/>
                  <a:pt x="1501807" y="265176"/>
                </a:cubicBezTo>
                <a:cubicBezTo>
                  <a:pt x="1509141" y="266795"/>
                  <a:pt x="1516380" y="268986"/>
                  <a:pt x="1523619" y="271653"/>
                </a:cubicBezTo>
                <a:lnTo>
                  <a:pt x="1547432" y="195739"/>
                </a:lnTo>
                <a:cubicBezTo>
                  <a:pt x="1538002" y="191548"/>
                  <a:pt x="1529239" y="188690"/>
                  <a:pt x="1521047" y="187166"/>
                </a:cubicBezTo>
                <a:cubicBezTo>
                  <a:pt x="1512856" y="185642"/>
                  <a:pt x="1503902" y="184975"/>
                  <a:pt x="1494282" y="184975"/>
                </a:cubicBezTo>
                <a:cubicBezTo>
                  <a:pt x="1471422" y="184975"/>
                  <a:pt x="1451324" y="191452"/>
                  <a:pt x="1433989" y="204502"/>
                </a:cubicBezTo>
                <a:cubicBezTo>
                  <a:pt x="1416653" y="217551"/>
                  <a:pt x="1403509" y="236220"/>
                  <a:pt x="1394555" y="260509"/>
                </a:cubicBezTo>
                <a:lnTo>
                  <a:pt x="1393031" y="260509"/>
                </a:lnTo>
                <a:lnTo>
                  <a:pt x="1393031" y="191643"/>
                </a:lnTo>
                <a:lnTo>
                  <a:pt x="1304068" y="191643"/>
                </a:lnTo>
                <a:lnTo>
                  <a:pt x="1304068" y="572643"/>
                </a:lnTo>
                <a:lnTo>
                  <a:pt x="1393031" y="572643"/>
                </a:lnTo>
                <a:lnTo>
                  <a:pt x="1393031" y="384334"/>
                </a:lnTo>
                <a:close/>
                <a:moveTo>
                  <a:pt x="1621917" y="528542"/>
                </a:moveTo>
                <a:cubicBezTo>
                  <a:pt x="1586294" y="493109"/>
                  <a:pt x="1568482" y="445294"/>
                  <a:pt x="1568482" y="385286"/>
                </a:cubicBezTo>
                <a:cubicBezTo>
                  <a:pt x="1568768" y="324517"/>
                  <a:pt x="1587532" y="275558"/>
                  <a:pt x="1625060" y="238506"/>
                </a:cubicBezTo>
                <a:cubicBezTo>
                  <a:pt x="1662494" y="201454"/>
                  <a:pt x="1711262" y="182880"/>
                  <a:pt x="1771269" y="182880"/>
                </a:cubicBezTo>
                <a:cubicBezTo>
                  <a:pt x="1831277" y="182880"/>
                  <a:pt x="1879473" y="201073"/>
                  <a:pt x="1914335" y="237554"/>
                </a:cubicBezTo>
                <a:cubicBezTo>
                  <a:pt x="1949196" y="274034"/>
                  <a:pt x="1966627" y="321183"/>
                  <a:pt x="1966627" y="378905"/>
                </a:cubicBezTo>
                <a:cubicBezTo>
                  <a:pt x="1966627" y="436626"/>
                  <a:pt x="1948244" y="486537"/>
                  <a:pt x="1911572" y="524542"/>
                </a:cubicBezTo>
                <a:cubicBezTo>
                  <a:pt x="1874901" y="562642"/>
                  <a:pt x="1826324" y="581692"/>
                  <a:pt x="1766126" y="581692"/>
                </a:cubicBezTo>
                <a:cubicBezTo>
                  <a:pt x="1705928" y="581692"/>
                  <a:pt x="1657540" y="563975"/>
                  <a:pt x="1621917" y="528447"/>
                </a:cubicBezTo>
                <a:close/>
                <a:moveTo>
                  <a:pt x="1659350" y="383477"/>
                </a:moveTo>
                <a:cubicBezTo>
                  <a:pt x="1659350" y="422720"/>
                  <a:pt x="1669256" y="453580"/>
                  <a:pt x="1688973" y="476155"/>
                </a:cubicBezTo>
                <a:cubicBezTo>
                  <a:pt x="1708690" y="498729"/>
                  <a:pt x="1735550" y="509969"/>
                  <a:pt x="1769555" y="509969"/>
                </a:cubicBezTo>
                <a:cubicBezTo>
                  <a:pt x="1803559" y="509969"/>
                  <a:pt x="1829372" y="498348"/>
                  <a:pt x="1847850" y="475012"/>
                </a:cubicBezTo>
                <a:cubicBezTo>
                  <a:pt x="1866329" y="451675"/>
                  <a:pt x="1875568" y="420434"/>
                  <a:pt x="1875568" y="381286"/>
                </a:cubicBezTo>
                <a:cubicBezTo>
                  <a:pt x="1875568" y="342138"/>
                  <a:pt x="1866233" y="312801"/>
                  <a:pt x="1847660" y="289750"/>
                </a:cubicBezTo>
                <a:cubicBezTo>
                  <a:pt x="1829086" y="266700"/>
                  <a:pt x="1802892" y="255175"/>
                  <a:pt x="1769174" y="255175"/>
                </a:cubicBezTo>
                <a:cubicBezTo>
                  <a:pt x="1735455" y="255175"/>
                  <a:pt x="1709357" y="267081"/>
                  <a:pt x="1689354" y="290894"/>
                </a:cubicBezTo>
                <a:cubicBezTo>
                  <a:pt x="1669352" y="314706"/>
                  <a:pt x="1659446" y="345567"/>
                  <a:pt x="1659446" y="383572"/>
                </a:cubicBezTo>
                <a:close/>
                <a:moveTo>
                  <a:pt x="2267426" y="547878"/>
                </a:moveTo>
                <a:cubicBezTo>
                  <a:pt x="2294477" y="525304"/>
                  <a:pt x="2308003" y="495681"/>
                  <a:pt x="2308003" y="458915"/>
                </a:cubicBezTo>
                <a:cubicBezTo>
                  <a:pt x="2308003" y="426149"/>
                  <a:pt x="2297621" y="399859"/>
                  <a:pt x="2276761" y="380048"/>
                </a:cubicBezTo>
                <a:cubicBezTo>
                  <a:pt x="2255901" y="360236"/>
                  <a:pt x="2224373" y="346710"/>
                  <a:pt x="2182273" y="339471"/>
                </a:cubicBezTo>
                <a:cubicBezTo>
                  <a:pt x="2155222" y="334232"/>
                  <a:pt x="2136839" y="328232"/>
                  <a:pt x="2127028" y="321278"/>
                </a:cubicBezTo>
                <a:cubicBezTo>
                  <a:pt x="2117217" y="314325"/>
                  <a:pt x="2112359" y="304705"/>
                  <a:pt x="2112359" y="292227"/>
                </a:cubicBezTo>
                <a:cubicBezTo>
                  <a:pt x="2112359" y="279749"/>
                  <a:pt x="2117027" y="269272"/>
                  <a:pt x="2126456" y="261366"/>
                </a:cubicBezTo>
                <a:cubicBezTo>
                  <a:pt x="2135886" y="253460"/>
                  <a:pt x="2149602" y="249460"/>
                  <a:pt x="2167795" y="249460"/>
                </a:cubicBezTo>
                <a:cubicBezTo>
                  <a:pt x="2184654" y="249460"/>
                  <a:pt x="2199227" y="252413"/>
                  <a:pt x="2211515" y="258413"/>
                </a:cubicBezTo>
                <a:cubicBezTo>
                  <a:pt x="2223802" y="264414"/>
                  <a:pt x="2235613" y="273272"/>
                  <a:pt x="2247043" y="285179"/>
                </a:cubicBezTo>
                <a:lnTo>
                  <a:pt x="2298764" y="238316"/>
                </a:lnTo>
                <a:cubicBezTo>
                  <a:pt x="2284381" y="219742"/>
                  <a:pt x="2265902" y="205835"/>
                  <a:pt x="2243328" y="196596"/>
                </a:cubicBezTo>
                <a:cubicBezTo>
                  <a:pt x="2220754" y="187452"/>
                  <a:pt x="2196465" y="182785"/>
                  <a:pt x="2170367" y="182785"/>
                </a:cubicBezTo>
                <a:cubicBezTo>
                  <a:pt x="2129695" y="182785"/>
                  <a:pt x="2095976" y="193358"/>
                  <a:pt x="2069211" y="214598"/>
                </a:cubicBezTo>
                <a:cubicBezTo>
                  <a:pt x="2042446" y="235839"/>
                  <a:pt x="2029015" y="264986"/>
                  <a:pt x="2029015" y="302228"/>
                </a:cubicBezTo>
                <a:cubicBezTo>
                  <a:pt x="2029015" y="331280"/>
                  <a:pt x="2038922" y="355664"/>
                  <a:pt x="2058638" y="375380"/>
                </a:cubicBezTo>
                <a:cubicBezTo>
                  <a:pt x="2078355" y="395097"/>
                  <a:pt x="2113121" y="409289"/>
                  <a:pt x="2163032" y="417957"/>
                </a:cubicBezTo>
                <a:cubicBezTo>
                  <a:pt x="2183321" y="421672"/>
                  <a:pt x="2198656" y="427673"/>
                  <a:pt x="2208943" y="435959"/>
                </a:cubicBezTo>
                <a:cubicBezTo>
                  <a:pt x="2219230" y="444246"/>
                  <a:pt x="2224373" y="454628"/>
                  <a:pt x="2224373" y="467011"/>
                </a:cubicBezTo>
                <a:cubicBezTo>
                  <a:pt x="2224373" y="482155"/>
                  <a:pt x="2218944" y="493871"/>
                  <a:pt x="2207990" y="502158"/>
                </a:cubicBezTo>
                <a:cubicBezTo>
                  <a:pt x="2197037" y="510445"/>
                  <a:pt x="2181797" y="514636"/>
                  <a:pt x="2162271" y="514636"/>
                </a:cubicBezTo>
                <a:cubicBezTo>
                  <a:pt x="2144935" y="514636"/>
                  <a:pt x="2128361" y="510730"/>
                  <a:pt x="2112645" y="502920"/>
                </a:cubicBezTo>
                <a:cubicBezTo>
                  <a:pt x="2096929" y="495109"/>
                  <a:pt x="2082070" y="482060"/>
                  <a:pt x="2068163" y="463677"/>
                </a:cubicBezTo>
                <a:lnTo>
                  <a:pt x="2014633" y="511683"/>
                </a:lnTo>
                <a:cubicBezTo>
                  <a:pt x="2028730" y="534543"/>
                  <a:pt x="2048828" y="551879"/>
                  <a:pt x="2074926" y="563785"/>
                </a:cubicBezTo>
                <a:cubicBezTo>
                  <a:pt x="2101025" y="575691"/>
                  <a:pt x="2129885" y="581692"/>
                  <a:pt x="2161604" y="581692"/>
                </a:cubicBezTo>
                <a:cubicBezTo>
                  <a:pt x="2205228" y="581692"/>
                  <a:pt x="2240566" y="570452"/>
                  <a:pt x="2267617" y="547878"/>
                </a:cubicBezTo>
                <a:close/>
                <a:moveTo>
                  <a:pt x="2717292" y="237554"/>
                </a:moveTo>
                <a:cubicBezTo>
                  <a:pt x="2752154" y="274034"/>
                  <a:pt x="2769584" y="321183"/>
                  <a:pt x="2769584" y="378905"/>
                </a:cubicBezTo>
                <a:cubicBezTo>
                  <a:pt x="2769584" y="436626"/>
                  <a:pt x="2751201" y="486537"/>
                  <a:pt x="2714530" y="524542"/>
                </a:cubicBezTo>
                <a:cubicBezTo>
                  <a:pt x="2677859" y="562642"/>
                  <a:pt x="2629281" y="581692"/>
                  <a:pt x="2569083" y="581692"/>
                </a:cubicBezTo>
                <a:cubicBezTo>
                  <a:pt x="2508885" y="581692"/>
                  <a:pt x="2460498" y="563975"/>
                  <a:pt x="2424875" y="528447"/>
                </a:cubicBezTo>
                <a:cubicBezTo>
                  <a:pt x="2389251" y="493014"/>
                  <a:pt x="2371439" y="445199"/>
                  <a:pt x="2371439" y="385191"/>
                </a:cubicBezTo>
                <a:cubicBezTo>
                  <a:pt x="2371725" y="324422"/>
                  <a:pt x="2390489" y="275463"/>
                  <a:pt x="2428018" y="238411"/>
                </a:cubicBezTo>
                <a:cubicBezTo>
                  <a:pt x="2465451" y="201359"/>
                  <a:pt x="2514219" y="182785"/>
                  <a:pt x="2574227" y="182785"/>
                </a:cubicBezTo>
                <a:cubicBezTo>
                  <a:pt x="2634234" y="182785"/>
                  <a:pt x="2682431" y="200977"/>
                  <a:pt x="2717292" y="237458"/>
                </a:cubicBezTo>
                <a:close/>
                <a:moveTo>
                  <a:pt x="2678430" y="381191"/>
                </a:moveTo>
                <a:cubicBezTo>
                  <a:pt x="2678430" y="343281"/>
                  <a:pt x="2669096" y="312706"/>
                  <a:pt x="2650522" y="289655"/>
                </a:cubicBezTo>
                <a:cubicBezTo>
                  <a:pt x="2631948" y="266605"/>
                  <a:pt x="2605754" y="255079"/>
                  <a:pt x="2572036" y="255079"/>
                </a:cubicBezTo>
                <a:cubicBezTo>
                  <a:pt x="2538317" y="255079"/>
                  <a:pt x="2512219" y="266986"/>
                  <a:pt x="2492216" y="290798"/>
                </a:cubicBezTo>
                <a:cubicBezTo>
                  <a:pt x="2472214" y="314611"/>
                  <a:pt x="2462308" y="345472"/>
                  <a:pt x="2462308" y="383477"/>
                </a:cubicBezTo>
                <a:cubicBezTo>
                  <a:pt x="2462308" y="421481"/>
                  <a:pt x="2472214" y="453580"/>
                  <a:pt x="2491931" y="476155"/>
                </a:cubicBezTo>
                <a:cubicBezTo>
                  <a:pt x="2511647" y="498729"/>
                  <a:pt x="2538508" y="509969"/>
                  <a:pt x="2572512" y="509969"/>
                </a:cubicBezTo>
                <a:cubicBezTo>
                  <a:pt x="2606516" y="509969"/>
                  <a:pt x="2632329" y="498348"/>
                  <a:pt x="2650808" y="475012"/>
                </a:cubicBezTo>
                <a:cubicBezTo>
                  <a:pt x="2669286" y="451675"/>
                  <a:pt x="2678525" y="420434"/>
                  <a:pt x="2678525" y="381286"/>
                </a:cubicBezTo>
                <a:close/>
                <a:moveTo>
                  <a:pt x="3280410" y="494729"/>
                </a:moveTo>
                <a:cubicBezTo>
                  <a:pt x="3272028" y="500634"/>
                  <a:pt x="3264313" y="504920"/>
                  <a:pt x="3257360" y="507397"/>
                </a:cubicBezTo>
                <a:cubicBezTo>
                  <a:pt x="3250406" y="509873"/>
                  <a:pt x="3243453" y="511112"/>
                  <a:pt x="3236500" y="511112"/>
                </a:cubicBezTo>
                <a:cubicBezTo>
                  <a:pt x="3223070" y="511112"/>
                  <a:pt x="3212687" y="506730"/>
                  <a:pt x="3205258" y="497872"/>
                </a:cubicBezTo>
                <a:cubicBezTo>
                  <a:pt x="3197829" y="489109"/>
                  <a:pt x="3194114" y="475393"/>
                  <a:pt x="3194114" y="456724"/>
                </a:cubicBezTo>
                <a:lnTo>
                  <a:pt x="3194114" y="260985"/>
                </a:lnTo>
                <a:lnTo>
                  <a:pt x="3291269" y="260985"/>
                </a:lnTo>
                <a:lnTo>
                  <a:pt x="3291269" y="191738"/>
                </a:lnTo>
                <a:lnTo>
                  <a:pt x="3194114" y="191738"/>
                </a:lnTo>
                <a:lnTo>
                  <a:pt x="3194114" y="82677"/>
                </a:lnTo>
                <a:lnTo>
                  <a:pt x="3105150" y="98298"/>
                </a:lnTo>
                <a:lnTo>
                  <a:pt x="3105150" y="191643"/>
                </a:lnTo>
                <a:lnTo>
                  <a:pt x="2957227" y="191643"/>
                </a:lnTo>
                <a:lnTo>
                  <a:pt x="2957227" y="130969"/>
                </a:lnTo>
                <a:cubicBezTo>
                  <a:pt x="2957227" y="111157"/>
                  <a:pt x="2961513" y="96202"/>
                  <a:pt x="2970086" y="86297"/>
                </a:cubicBezTo>
                <a:cubicBezTo>
                  <a:pt x="2978658" y="76391"/>
                  <a:pt x="2990850" y="71438"/>
                  <a:pt x="3006757" y="71438"/>
                </a:cubicBezTo>
                <a:cubicBezTo>
                  <a:pt x="3014948" y="71438"/>
                  <a:pt x="3022473" y="72581"/>
                  <a:pt x="3029236" y="74962"/>
                </a:cubicBezTo>
                <a:cubicBezTo>
                  <a:pt x="3036094" y="77343"/>
                  <a:pt x="3042666" y="80581"/>
                  <a:pt x="3049143" y="84868"/>
                </a:cubicBezTo>
                <a:lnTo>
                  <a:pt x="3085624" y="20479"/>
                </a:lnTo>
                <a:cubicBezTo>
                  <a:pt x="3072479" y="13525"/>
                  <a:pt x="3059049" y="8382"/>
                  <a:pt x="3045429" y="5048"/>
                </a:cubicBezTo>
                <a:cubicBezTo>
                  <a:pt x="3031808" y="1715"/>
                  <a:pt x="3017615" y="0"/>
                  <a:pt x="3003042" y="0"/>
                </a:cubicBezTo>
                <a:cubicBezTo>
                  <a:pt x="2960370" y="0"/>
                  <a:pt x="2927318" y="11621"/>
                  <a:pt x="2903887" y="34957"/>
                </a:cubicBezTo>
                <a:cubicBezTo>
                  <a:pt x="2880455" y="58293"/>
                  <a:pt x="2868740" y="90011"/>
                  <a:pt x="2868740" y="130207"/>
                </a:cubicBezTo>
                <a:lnTo>
                  <a:pt x="2868740" y="191643"/>
                </a:lnTo>
                <a:lnTo>
                  <a:pt x="2803970" y="191643"/>
                </a:lnTo>
                <a:lnTo>
                  <a:pt x="2803970" y="260890"/>
                </a:lnTo>
                <a:lnTo>
                  <a:pt x="2868740" y="260890"/>
                </a:lnTo>
                <a:lnTo>
                  <a:pt x="2868740" y="572643"/>
                </a:lnTo>
                <a:lnTo>
                  <a:pt x="2957322" y="572643"/>
                </a:lnTo>
                <a:lnTo>
                  <a:pt x="2957322" y="260890"/>
                </a:lnTo>
                <a:lnTo>
                  <a:pt x="3105246" y="260890"/>
                </a:lnTo>
                <a:lnTo>
                  <a:pt x="3105246" y="469297"/>
                </a:lnTo>
                <a:cubicBezTo>
                  <a:pt x="3105246" y="505968"/>
                  <a:pt x="3114675" y="533876"/>
                  <a:pt x="3133535" y="553022"/>
                </a:cubicBezTo>
                <a:cubicBezTo>
                  <a:pt x="3152394" y="572167"/>
                  <a:pt x="3180588" y="581692"/>
                  <a:pt x="3218021" y="581692"/>
                </a:cubicBezTo>
                <a:cubicBezTo>
                  <a:pt x="3236405" y="581692"/>
                  <a:pt x="3253454" y="579311"/>
                  <a:pt x="3269171" y="574453"/>
                </a:cubicBezTo>
                <a:cubicBezTo>
                  <a:pt x="3284887" y="569595"/>
                  <a:pt x="3297841" y="563118"/>
                  <a:pt x="3308033" y="554926"/>
                </a:cubicBezTo>
                <a:lnTo>
                  <a:pt x="3280505" y="494633"/>
                </a:lnTo>
                <a:close/>
                <a:moveTo>
                  <a:pt x="301181" y="915543"/>
                </a:moveTo>
                <a:lnTo>
                  <a:pt x="497300" y="1449134"/>
                </a:lnTo>
                <a:lnTo>
                  <a:pt x="399860" y="1449134"/>
                </a:lnTo>
                <a:lnTo>
                  <a:pt x="354139" y="1324166"/>
                </a:lnTo>
                <a:lnTo>
                  <a:pt x="140970" y="1324166"/>
                </a:lnTo>
                <a:lnTo>
                  <a:pt x="97441" y="1449134"/>
                </a:lnTo>
                <a:lnTo>
                  <a:pt x="0" y="1449134"/>
                </a:lnTo>
                <a:lnTo>
                  <a:pt x="197930" y="915543"/>
                </a:lnTo>
                <a:lnTo>
                  <a:pt x="301371" y="915543"/>
                </a:lnTo>
                <a:close/>
                <a:moveTo>
                  <a:pt x="329851" y="1247108"/>
                </a:moveTo>
                <a:lnTo>
                  <a:pt x="257651" y="1037654"/>
                </a:lnTo>
                <a:cubicBezTo>
                  <a:pt x="255937" y="1032224"/>
                  <a:pt x="254318" y="1027271"/>
                  <a:pt x="252984" y="1022795"/>
                </a:cubicBezTo>
                <a:cubicBezTo>
                  <a:pt x="251651" y="1018318"/>
                  <a:pt x="250031" y="1012888"/>
                  <a:pt x="248317" y="1006412"/>
                </a:cubicBezTo>
                <a:lnTo>
                  <a:pt x="246126" y="1006412"/>
                </a:lnTo>
                <a:cubicBezTo>
                  <a:pt x="244412" y="1012317"/>
                  <a:pt x="242792" y="1017651"/>
                  <a:pt x="241459" y="1022223"/>
                </a:cubicBezTo>
                <a:cubicBezTo>
                  <a:pt x="240125" y="1026795"/>
                  <a:pt x="238411" y="1031938"/>
                  <a:pt x="236411" y="1037654"/>
                </a:cubicBezTo>
                <a:lnTo>
                  <a:pt x="164973" y="1247108"/>
                </a:lnTo>
                <a:lnTo>
                  <a:pt x="329756" y="1247108"/>
                </a:lnTo>
                <a:close/>
                <a:moveTo>
                  <a:pt x="557403" y="1449134"/>
                </a:moveTo>
                <a:lnTo>
                  <a:pt x="648557" y="1449134"/>
                </a:lnTo>
                <a:lnTo>
                  <a:pt x="648557" y="915543"/>
                </a:lnTo>
                <a:lnTo>
                  <a:pt x="557403" y="915543"/>
                </a:lnTo>
                <a:lnTo>
                  <a:pt x="557403" y="1449134"/>
                </a:lnTo>
                <a:close/>
                <a:moveTo>
                  <a:pt x="1271778" y="915543"/>
                </a:moveTo>
                <a:lnTo>
                  <a:pt x="883730" y="915543"/>
                </a:lnTo>
                <a:lnTo>
                  <a:pt x="883730" y="992600"/>
                </a:lnTo>
                <a:lnTo>
                  <a:pt x="1031843" y="992600"/>
                </a:lnTo>
                <a:lnTo>
                  <a:pt x="1031843" y="1449134"/>
                </a:lnTo>
                <a:lnTo>
                  <a:pt x="1122998" y="1449134"/>
                </a:lnTo>
                <a:lnTo>
                  <a:pt x="1122998" y="992600"/>
                </a:lnTo>
                <a:lnTo>
                  <a:pt x="1271778" y="992600"/>
                </a:lnTo>
                <a:lnTo>
                  <a:pt x="1271778" y="915543"/>
                </a:lnTo>
                <a:close/>
                <a:moveTo>
                  <a:pt x="1581340" y="1113854"/>
                </a:moveTo>
                <a:cubicBezTo>
                  <a:pt x="1616202" y="1150334"/>
                  <a:pt x="1633633" y="1197483"/>
                  <a:pt x="1633633" y="1255205"/>
                </a:cubicBezTo>
                <a:cubicBezTo>
                  <a:pt x="1633633" y="1312926"/>
                  <a:pt x="1615250" y="1362837"/>
                  <a:pt x="1578578" y="1400842"/>
                </a:cubicBezTo>
                <a:cubicBezTo>
                  <a:pt x="1541812" y="1438942"/>
                  <a:pt x="1493330" y="1457992"/>
                  <a:pt x="1433132" y="1457992"/>
                </a:cubicBezTo>
                <a:cubicBezTo>
                  <a:pt x="1372934" y="1457992"/>
                  <a:pt x="1324547" y="1440275"/>
                  <a:pt x="1288923" y="1404747"/>
                </a:cubicBezTo>
                <a:cubicBezTo>
                  <a:pt x="1253300" y="1369314"/>
                  <a:pt x="1235488" y="1321499"/>
                  <a:pt x="1235488" y="1261491"/>
                </a:cubicBezTo>
                <a:cubicBezTo>
                  <a:pt x="1235774" y="1200722"/>
                  <a:pt x="1254538" y="1151763"/>
                  <a:pt x="1292066" y="1114711"/>
                </a:cubicBezTo>
                <a:cubicBezTo>
                  <a:pt x="1329500" y="1077659"/>
                  <a:pt x="1378268" y="1059085"/>
                  <a:pt x="1438275" y="1059085"/>
                </a:cubicBezTo>
                <a:cubicBezTo>
                  <a:pt x="1498283" y="1059085"/>
                  <a:pt x="1546479" y="1077278"/>
                  <a:pt x="1581340" y="1113758"/>
                </a:cubicBezTo>
                <a:close/>
                <a:moveTo>
                  <a:pt x="1542479" y="1257491"/>
                </a:moveTo>
                <a:cubicBezTo>
                  <a:pt x="1542479" y="1219581"/>
                  <a:pt x="1533144" y="1189006"/>
                  <a:pt x="1514570" y="1165955"/>
                </a:cubicBezTo>
                <a:cubicBezTo>
                  <a:pt x="1495997" y="1142905"/>
                  <a:pt x="1469803" y="1131380"/>
                  <a:pt x="1436084" y="1131380"/>
                </a:cubicBezTo>
                <a:cubicBezTo>
                  <a:pt x="1402366" y="1131380"/>
                  <a:pt x="1376267" y="1143286"/>
                  <a:pt x="1356265" y="1167098"/>
                </a:cubicBezTo>
                <a:cubicBezTo>
                  <a:pt x="1336262" y="1190911"/>
                  <a:pt x="1326356" y="1221772"/>
                  <a:pt x="1326356" y="1259777"/>
                </a:cubicBezTo>
                <a:cubicBezTo>
                  <a:pt x="1326356" y="1297781"/>
                  <a:pt x="1336262" y="1329881"/>
                  <a:pt x="1355979" y="1352455"/>
                </a:cubicBezTo>
                <a:cubicBezTo>
                  <a:pt x="1375696" y="1375029"/>
                  <a:pt x="1402556" y="1386269"/>
                  <a:pt x="1436561" y="1386269"/>
                </a:cubicBezTo>
                <a:cubicBezTo>
                  <a:pt x="1470565" y="1386269"/>
                  <a:pt x="1496378" y="1374648"/>
                  <a:pt x="1514856" y="1351312"/>
                </a:cubicBezTo>
                <a:cubicBezTo>
                  <a:pt x="1533335" y="1327976"/>
                  <a:pt x="1542574" y="1296734"/>
                  <a:pt x="1542574" y="1257586"/>
                </a:cubicBezTo>
                <a:close/>
                <a:moveTo>
                  <a:pt x="1951577" y="1285399"/>
                </a:moveTo>
                <a:cubicBezTo>
                  <a:pt x="1951577" y="1314450"/>
                  <a:pt x="1943290" y="1338453"/>
                  <a:pt x="1926622" y="1357598"/>
                </a:cubicBezTo>
                <a:cubicBezTo>
                  <a:pt x="1910048" y="1376744"/>
                  <a:pt x="1888522" y="1386269"/>
                  <a:pt x="1862233" y="1386269"/>
                </a:cubicBezTo>
                <a:cubicBezTo>
                  <a:pt x="1835944" y="1386269"/>
                  <a:pt x="1817465" y="1378268"/>
                  <a:pt x="1805273" y="1362266"/>
                </a:cubicBezTo>
                <a:cubicBezTo>
                  <a:pt x="1793081" y="1346264"/>
                  <a:pt x="1787081" y="1322356"/>
                  <a:pt x="1787081" y="1290638"/>
                </a:cubicBezTo>
                <a:lnTo>
                  <a:pt x="1787081" y="1068134"/>
                </a:lnTo>
                <a:lnTo>
                  <a:pt x="1698498" y="1068134"/>
                </a:lnTo>
                <a:lnTo>
                  <a:pt x="1698498" y="1302544"/>
                </a:lnTo>
                <a:cubicBezTo>
                  <a:pt x="1698498" y="1353407"/>
                  <a:pt x="1709833" y="1391984"/>
                  <a:pt x="1732502" y="1418463"/>
                </a:cubicBezTo>
                <a:cubicBezTo>
                  <a:pt x="1755172" y="1444943"/>
                  <a:pt x="1788890" y="1458087"/>
                  <a:pt x="1833563" y="1458087"/>
                </a:cubicBezTo>
                <a:cubicBezTo>
                  <a:pt x="1856423" y="1458087"/>
                  <a:pt x="1878425" y="1452563"/>
                  <a:pt x="1899571" y="1441514"/>
                </a:cubicBezTo>
                <a:cubicBezTo>
                  <a:pt x="1920716" y="1430465"/>
                  <a:pt x="1937480" y="1415796"/>
                  <a:pt x="1949577" y="1397413"/>
                </a:cubicBezTo>
                <a:lnTo>
                  <a:pt x="1951482" y="1397413"/>
                </a:lnTo>
                <a:lnTo>
                  <a:pt x="1951482" y="1449134"/>
                </a:lnTo>
                <a:lnTo>
                  <a:pt x="2040446" y="1449134"/>
                </a:lnTo>
                <a:lnTo>
                  <a:pt x="2040446" y="1068134"/>
                </a:lnTo>
                <a:lnTo>
                  <a:pt x="1951482" y="1068134"/>
                </a:lnTo>
                <a:lnTo>
                  <a:pt x="1951482" y="1285399"/>
                </a:lnTo>
                <a:close/>
                <a:moveTo>
                  <a:pt x="2326767" y="1061466"/>
                </a:moveTo>
                <a:cubicBezTo>
                  <a:pt x="2303907" y="1061466"/>
                  <a:pt x="2283809" y="1067943"/>
                  <a:pt x="2266474" y="1080992"/>
                </a:cubicBezTo>
                <a:cubicBezTo>
                  <a:pt x="2249138" y="1094042"/>
                  <a:pt x="2235994" y="1112711"/>
                  <a:pt x="2227040" y="1136999"/>
                </a:cubicBezTo>
                <a:lnTo>
                  <a:pt x="2225516" y="1136999"/>
                </a:lnTo>
                <a:lnTo>
                  <a:pt x="2225516" y="1068134"/>
                </a:lnTo>
                <a:lnTo>
                  <a:pt x="2136553" y="1068134"/>
                </a:lnTo>
                <a:lnTo>
                  <a:pt x="2136553" y="1449134"/>
                </a:lnTo>
                <a:lnTo>
                  <a:pt x="2225516" y="1449134"/>
                </a:lnTo>
                <a:lnTo>
                  <a:pt x="2225516" y="1260824"/>
                </a:lnTo>
                <a:cubicBezTo>
                  <a:pt x="2225516" y="1224344"/>
                  <a:pt x="2233422" y="1195007"/>
                  <a:pt x="2249138" y="1172623"/>
                </a:cubicBezTo>
                <a:cubicBezTo>
                  <a:pt x="2264855" y="1150334"/>
                  <a:pt x="2285524" y="1139095"/>
                  <a:pt x="2311051" y="1139095"/>
                </a:cubicBezTo>
                <a:cubicBezTo>
                  <a:pt x="2319242" y="1139095"/>
                  <a:pt x="2326958" y="1139857"/>
                  <a:pt x="2334292" y="1141476"/>
                </a:cubicBezTo>
                <a:cubicBezTo>
                  <a:pt x="2341626" y="1143095"/>
                  <a:pt x="2348865" y="1145286"/>
                  <a:pt x="2356104" y="1147953"/>
                </a:cubicBezTo>
                <a:lnTo>
                  <a:pt x="2379917" y="1072039"/>
                </a:lnTo>
                <a:cubicBezTo>
                  <a:pt x="2370487" y="1067848"/>
                  <a:pt x="2361724" y="1064990"/>
                  <a:pt x="2353532" y="1063466"/>
                </a:cubicBezTo>
                <a:cubicBezTo>
                  <a:pt x="2345341" y="1061942"/>
                  <a:pt x="2336387" y="1061276"/>
                  <a:pt x="2326767" y="1061276"/>
                </a:cubicBezTo>
                <a:close/>
              </a:path>
            </a:pathLst>
          </a:custGeom>
          <a:gradFill>
            <a:gsLst>
              <a:gs pos="0">
                <a:srgbClr val="4D3677"/>
              </a:gs>
              <a:gs pos="72000">
                <a:srgbClr val="8661C5"/>
              </a:gs>
            </a:gsLst>
            <a:lin ang="2700000" scaled="0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40963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9668AE-5CD6-D782-C7B5-872E7248B9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4D367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rgbClr val="091F2C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4B2684EB-34E2-E67F-1ABA-8374FB1B88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51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551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0421848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823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866643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782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626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41476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1017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32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63755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5546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14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3500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7740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4819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818504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69561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14608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87851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5539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0">
                      <a:srgbClr val="31ACBD"/>
                    </a:gs>
                    <a:gs pos="68000">
                      <a:schemeClr val="tx2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>
                <a:gradFill>
                  <a:gsLst>
                    <a:gs pos="100000">
                      <a:srgbClr val="3EA89B"/>
                    </a:gs>
                    <a:gs pos="0">
                      <a:srgbClr val="225B62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 dirty="0">
                <a:gradFill>
                  <a:gsLst>
                    <a:gs pos="0">
                      <a:srgbClr val="F4364C"/>
                    </a:gs>
                    <a:gs pos="68000">
                      <a:srgbClr val="C03BC4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>
                <a:gradFill>
                  <a:gsLst>
                    <a:gs pos="0">
                      <a:srgbClr val="FF9318"/>
                    </a:gs>
                    <a:gs pos="44000">
                      <a:srgbClr val="FF5C39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4516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627816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319724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930916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418829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2922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654213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534173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846159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37684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053903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3034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019273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975536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61876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978433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6875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65257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0814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955541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47632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862062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9443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33833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1A31B0-DA79-E282-BD21-42CF3B67D8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09016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21793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5AB3C7-DD87-C9B0-751D-F81E1404C8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54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49550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67408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9414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287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018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147149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35824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586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17505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25285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13716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3B4BC62-442D-D07F-D062-B23F459AF590}"/>
              </a:ext>
            </a:extLst>
          </p:cNvPr>
          <p:cNvSpPr txBox="1"/>
          <p:nvPr userDrawn="1"/>
        </p:nvSpPr>
        <p:spPr>
          <a:xfrm>
            <a:off x="584200" y="2841172"/>
            <a:ext cx="3790950" cy="14957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5400" b="0">
                <a:solidFill>
                  <a:schemeClr val="tx1"/>
                </a:solidFill>
                <a:latin typeface="+mj-lt"/>
              </a:rPr>
              <a:t>Microsoft Azure</a:t>
            </a:r>
          </a:p>
        </p:txBody>
      </p:sp>
      <p:pic>
        <p:nvPicPr>
          <p:cNvPr id="5" name="MS logo gray - EMF" descr="Microsoft logo, gray text version">
            <a:extLst>
              <a:ext uri="{FF2B5EF4-FFF2-40B4-BE49-F238E27FC236}">
                <a16:creationId xmlns:a16="http://schemas.microsoft.com/office/drawing/2014/main" id="{8672AF12-6140-9E72-C268-A8ED4080CA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14068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gradFill flip="none" rotWithShape="1">
            <a:gsLst>
              <a:gs pos="47706">
                <a:schemeClr val="accent1"/>
              </a:gs>
              <a:gs pos="100000">
                <a:schemeClr val="accent3"/>
              </a:gs>
              <a:gs pos="60000">
                <a:schemeClr val="accent1"/>
              </a:gs>
            </a:gsLst>
            <a:lin ang="18900000" scaled="1"/>
            <a:tileRect/>
          </a:grad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513675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09554D-CD2C-F836-9A2C-88CABE576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75034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0850471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171080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57348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43211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0413754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97081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64126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gradFill>
            <a:gsLst>
              <a:gs pos="0">
                <a:srgbClr val="E8E6DF"/>
              </a:gs>
              <a:gs pos="100000">
                <a:srgbClr val="D4EC8E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19498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background with a curved line&#10;&#10;Description automatically generated">
            <a:extLst>
              <a:ext uri="{FF2B5EF4-FFF2-40B4-BE49-F238E27FC236}">
                <a16:creationId xmlns:a16="http://schemas.microsoft.com/office/drawing/2014/main" id="{39E5FF5B-8E1A-96D7-2D01-8DDA2FA433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solidFill>
            <a:srgbClr val="FDBB9B"/>
          </a:solidFill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CC8419CC-937C-4612-318D-C89C46D75A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/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694" y="317876"/>
            <a:ext cx="2487618" cy="81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310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833249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477796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D4EC8E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799616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1"/>
            <a:ext cx="3182027" cy="3959217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353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85326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9770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087993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41341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714937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99242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608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dirty="0"/>
            </a:lvl1pPr>
          </a:lstStyle>
          <a:p>
            <a:pPr lvl="0">
              <a:lnSpc>
                <a:spcPct val="90000"/>
              </a:lnSpc>
            </a:pPr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4539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94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8108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6031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37791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3E7235-22DD-1125-FF85-028A2E64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6359434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65C022-5A4E-84F5-B51B-1431B6A0AE21}"/>
              </a:ext>
            </a:extLst>
          </p:cNvPr>
          <p:cNvSpPr/>
          <p:nvPr userDrawn="1"/>
        </p:nvSpPr>
        <p:spPr bwMode="auto">
          <a:xfrm>
            <a:off x="7228114" y="292100"/>
            <a:ext cx="4659086" cy="6272213"/>
          </a:xfrm>
          <a:prstGeom prst="rect">
            <a:avLst/>
          </a:prstGeom>
          <a:gradFill>
            <a:gsLst>
              <a:gs pos="0">
                <a:srgbClr val="FFB3BB"/>
              </a:gs>
              <a:gs pos="100000">
                <a:srgbClr val="FFB900"/>
              </a:gs>
            </a:gsLst>
            <a:lin ang="81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5068233-F46E-B659-0799-22A45E3DA22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76380" y="1866864"/>
            <a:ext cx="5544120" cy="3124272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731520" rIns="73152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1020F17E-67BE-FC02-AF7B-709A3923C2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877087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565C022-5A4E-84F5-B51B-1431B6A0AE21}"/>
              </a:ext>
            </a:extLst>
          </p:cNvPr>
          <p:cNvSpPr/>
          <p:nvPr userDrawn="1"/>
        </p:nvSpPr>
        <p:spPr bwMode="auto">
          <a:xfrm>
            <a:off x="304800" y="292100"/>
            <a:ext cx="11582400" cy="6272213"/>
          </a:xfrm>
          <a:prstGeom prst="rect">
            <a:avLst/>
          </a:prstGeom>
          <a:gradFill>
            <a:gsLst>
              <a:gs pos="64000">
                <a:srgbClr val="0D82CB"/>
              </a:gs>
              <a:gs pos="0">
                <a:srgbClr val="7FDE7B"/>
              </a:gs>
            </a:gsLst>
            <a:lin ang="81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3E7235-22DD-1125-FF85-028A2E64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96801"/>
            <a:ext cx="3590037" cy="1661993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5068233-F46E-B659-0799-22A45E3DA22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61762" y="1490647"/>
            <a:ext cx="6879337" cy="387670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222063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B0FE6-6EE4-72F6-EE0C-E481F72F7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910837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EC160D-0F95-E237-7287-43174DA4A3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1" y="1816100"/>
            <a:ext cx="4910838" cy="20436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90C592A4-DBC6-A7A9-63D9-5020A47499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  <a:effectLst/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469309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B0FE6-6EE4-72F6-EE0C-E481F72F7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910837" cy="11079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EC160D-0F95-E237-7287-43174DA4A3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1" y="1816100"/>
            <a:ext cx="4910838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830D09FD-2495-FD73-64EA-14E484039E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  <a:effectLst/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163351576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655B182-C5FF-81E8-8156-470DF324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98286"/>
            <a:ext cx="4663440" cy="738664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8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C71D650-3B87-D82E-F786-ADD5DDCE4C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199" y="4847464"/>
            <a:ext cx="3898901" cy="246221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5A3663-712F-A49D-172F-24B86151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199" y="5106140"/>
            <a:ext cx="3898901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4B828D67-4891-FD7F-4AA2-E9E4A6525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98378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08CE50-46CE-0973-AC08-7477BEAD0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3424D10-01E7-37F9-6091-2C95487D9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DFE8ED1-0EC9-B339-1813-0B4260A0A2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23006D8-810A-DCBB-7E79-17F6322E2F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DAAB847-57CB-2458-2ADA-6D77707940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B655A31-FF73-73EA-1EA8-00F13891AB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19634A-80BB-C620-3C16-1EA80A7B1C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5E7CC6D-40F5-C58C-FC44-793B1A98AC5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B93ED5-5CA7-C983-373E-E42D7424C7C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600"/>
            </a:lvl2pPr>
            <a:lvl3pPr>
              <a:defRPr lang="en-US" sz="1600"/>
            </a:lvl3pPr>
            <a:lvl4pPr>
              <a:defRPr lang="en-US" sz="140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04790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655B182-C5FF-81E8-8156-470DF324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98286"/>
            <a:ext cx="4663440" cy="738664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8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C71D650-3B87-D82E-F786-ADD5DDCE4C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199" y="4847464"/>
            <a:ext cx="3898901" cy="246221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5A3663-712F-A49D-172F-24B86151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199" y="5106140"/>
            <a:ext cx="3898901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4B828D67-4891-FD7F-4AA2-E9E4A6525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83595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7579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952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3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144319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llustration 2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colorful objects&#10;&#10;Description automatically generated with medium confidence">
            <a:extLst>
              <a:ext uri="{FF2B5EF4-FFF2-40B4-BE49-F238E27FC236}">
                <a16:creationId xmlns:a16="http://schemas.microsoft.com/office/drawing/2014/main" id="{2832B7B5-6C73-D765-B05E-3768BA5BEB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A99BAC5-322B-F634-A286-9E84A049E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6991" y="3332646"/>
            <a:ext cx="4205405" cy="1354217"/>
          </a:xfrm>
        </p:spPr>
        <p:txBody>
          <a:bodyPr wrap="square" lIns="0" tIns="0" rIns="0" bIns="0" anchor="b" anchorCtr="0">
            <a:spAutoFit/>
          </a:bodyPr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0" i="0" kern="1200" cap="none" spc="-5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Segoe Sans Display" pitchFamily="2" charset="0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738C850-C527-4C78-8D95-980AC70AC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72928" y="5070621"/>
            <a:ext cx="4205405" cy="8177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rgbClr val="000000"/>
                </a:solidFill>
                <a:latin typeface="Segoe Sans Display" pitchFamily="2" charset="0"/>
                <a:cs typeface="Segoe Sans Display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01FE5E8-D0F4-EBED-E22B-64F3821CD269}"/>
              </a:ext>
            </a:extLst>
          </p:cNvPr>
          <p:cNvCxnSpPr/>
          <p:nvPr userDrawn="1"/>
        </p:nvCxnSpPr>
        <p:spPr>
          <a:xfrm>
            <a:off x="9993571" y="365352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75F9CF8-3DA7-63B0-DB10-4CB47BC7F2B2}"/>
              </a:ext>
            </a:extLst>
          </p:cNvPr>
          <p:cNvSpPr txBox="1"/>
          <p:nvPr userDrawn="1"/>
        </p:nvSpPr>
        <p:spPr>
          <a:xfrm>
            <a:off x="10139483" y="456464"/>
            <a:ext cx="14719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i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Fabri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645BB9-3C92-C83A-D89B-FC51146B0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1" t="9231" r="-3390" b="18923"/>
          <a:stretch/>
        </p:blipFill>
        <p:spPr>
          <a:xfrm>
            <a:off x="8233662" y="293628"/>
            <a:ext cx="1566909" cy="544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84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 slide">
    <p:bg>
      <p:bgPr>
        <a:solidFill>
          <a:srgbClr val="F5F1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D13610-D10C-7EDB-D184-A911B7E375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rgbClr val="B238BA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/>
              <a:t>Section title two</a:t>
            </a:r>
          </a:p>
        </p:txBody>
      </p:sp>
    </p:spTree>
    <p:extLst>
      <p:ext uri="{BB962C8B-B14F-4D97-AF65-F5344CB8AC3E}">
        <p14:creationId xmlns:p14="http://schemas.microsoft.com/office/powerpoint/2010/main" val="36019683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hexagon&#10;&#10;Description automatically generated">
            <a:extLst>
              <a:ext uri="{FF2B5EF4-FFF2-40B4-BE49-F238E27FC236}">
                <a16:creationId xmlns:a16="http://schemas.microsoft.com/office/drawing/2014/main" id="{8E137068-7BA3-6088-0C65-0CB23AC063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3409" y="5814699"/>
            <a:ext cx="868680" cy="796908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Fabr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905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5" pos="3338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t="9231" r="-3390" b="18923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492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endix Slide">
    <p:bg>
      <p:bgPr>
        <a:gradFill>
          <a:gsLst>
            <a:gs pos="0">
              <a:srgbClr val="49C5B1"/>
            </a:gs>
            <a:gs pos="100000">
              <a:srgbClr val="0078D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CBF74EE-C73A-35DF-577D-87FEEBCB50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5824018"/>
            <a:ext cx="3532390" cy="527045"/>
          </a:xfrm>
        </p:spPr>
        <p:txBody>
          <a:bodyPr>
            <a:noAutofit/>
          </a:bodyPr>
          <a:lstStyle>
            <a:lvl1pPr algn="l">
              <a:defRPr sz="36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947152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555819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E7EB12-65FC-643E-0176-52947BFA9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F17F31-F4C0-C97A-C10B-6C9854C00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 Fabric</a:t>
            </a:r>
          </a:p>
        </p:txBody>
      </p:sp>
    </p:spTree>
    <p:extLst>
      <p:ext uri="{BB962C8B-B14F-4D97-AF65-F5344CB8AC3E}">
        <p14:creationId xmlns:p14="http://schemas.microsoft.com/office/powerpoint/2010/main" val="13982070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7D340AA-03E3-1E5F-952F-F53D53F3C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4132" y="539015"/>
            <a:ext cx="11603736" cy="5844435"/>
          </a:xfrm>
          <a:prstGeom prst="roundRect">
            <a:avLst>
              <a:gd name="adj" fmla="val 4114"/>
            </a:avLst>
          </a:prstGeom>
          <a:solidFill>
            <a:srgbClr val="FFFFFF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42900"/>
            <a:ext cx="11427125" cy="5070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137068-7BA3-6088-0C65-0CB23AC063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3409" y="5814699"/>
            <a:ext cx="868680" cy="79690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F4F9843-1E3D-A08B-E7F5-9A9A5C8500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1025" y="2764930"/>
            <a:ext cx="3767138" cy="1632758"/>
            <a:chOff x="581025" y="2764930"/>
            <a:chExt cx="3767138" cy="1632758"/>
          </a:xfrm>
        </p:grpSpPr>
        <p:sp>
          <p:nvSpPr>
            <p:cNvPr id="8" name="Rounded Rectangle 6">
              <a:extLst>
                <a:ext uri="{FF2B5EF4-FFF2-40B4-BE49-F238E27FC236}">
                  <a16:creationId xmlns:a16="http://schemas.microsoft.com/office/drawing/2014/main" id="{07B1C6FD-0110-E4B1-C114-42ECA7B2A5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81025" y="2764930"/>
              <a:ext cx="878821" cy="1632758"/>
            </a:xfrm>
            <a:prstGeom prst="roundRect">
              <a:avLst>
                <a:gd name="adj" fmla="val 5399"/>
              </a:avLst>
            </a:prstGeom>
            <a:noFill/>
            <a:ln w="6350">
              <a:solidFill>
                <a:schemeClr val="accent3"/>
              </a:solidFill>
              <a:prstDash val="lg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9" name="Rounded Rectangle 6">
              <a:extLst>
                <a:ext uri="{FF2B5EF4-FFF2-40B4-BE49-F238E27FC236}">
                  <a16:creationId xmlns:a16="http://schemas.microsoft.com/office/drawing/2014/main" id="{A18A80B8-DC8B-3D57-DF38-02399AAFF3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43797" y="2764930"/>
              <a:ext cx="878821" cy="1632758"/>
            </a:xfrm>
            <a:prstGeom prst="roundRect">
              <a:avLst>
                <a:gd name="adj" fmla="val 5399"/>
              </a:avLst>
            </a:prstGeom>
            <a:noFill/>
            <a:ln w="6350">
              <a:solidFill>
                <a:schemeClr val="accent3"/>
              </a:solidFill>
              <a:prstDash val="lg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0" name="Rounded Rectangle 6">
              <a:extLst>
                <a:ext uri="{FF2B5EF4-FFF2-40B4-BE49-F238E27FC236}">
                  <a16:creationId xmlns:a16="http://schemas.microsoft.com/office/drawing/2014/main" id="{F61EE30E-88FA-F378-92B4-475B73552E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2506570" y="2764930"/>
              <a:ext cx="878821" cy="1632758"/>
            </a:xfrm>
            <a:prstGeom prst="roundRect">
              <a:avLst>
                <a:gd name="adj" fmla="val 5399"/>
              </a:avLst>
            </a:prstGeom>
            <a:noFill/>
            <a:ln w="6350">
              <a:solidFill>
                <a:schemeClr val="accent3"/>
              </a:solidFill>
              <a:prstDash val="lg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1" name="Rounded Rectangle 6">
              <a:extLst>
                <a:ext uri="{FF2B5EF4-FFF2-40B4-BE49-F238E27FC236}">
                  <a16:creationId xmlns:a16="http://schemas.microsoft.com/office/drawing/2014/main" id="{E2827E8A-9B42-BE0E-D737-05725BF1CE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469342" y="2764930"/>
              <a:ext cx="878821" cy="1632758"/>
            </a:xfrm>
            <a:prstGeom prst="roundRect">
              <a:avLst>
                <a:gd name="adj" fmla="val 5399"/>
              </a:avLst>
            </a:prstGeom>
            <a:noFill/>
            <a:ln w="6350">
              <a:solidFill>
                <a:schemeClr val="accent3"/>
              </a:solidFill>
              <a:prstDash val="lg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73FD745-43E5-7306-0E8F-C688C45BDD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1217" y="3090872"/>
            <a:ext cx="378436" cy="3243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2A4D4E-D258-7E06-B945-D14DA7EB9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30357" y="3100208"/>
            <a:ext cx="305700" cy="3057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3BBE301-A579-C74E-9EC5-80944E47AE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061" y="3040382"/>
            <a:ext cx="197838" cy="425352"/>
          </a:xfrm>
          <a:prstGeom prst="rect">
            <a:avLst/>
          </a:prstGeom>
        </p:spPr>
      </p:pic>
      <p:sp>
        <p:nvSpPr>
          <p:cNvPr id="18" name="Database_EFC7">
            <a:extLst>
              <a:ext uri="{FF2B5EF4-FFF2-40B4-BE49-F238E27FC236}">
                <a16:creationId xmlns:a16="http://schemas.microsoft.com/office/drawing/2014/main" id="{5180303F-10D4-6C55-F00D-E68354503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789355" y="3100208"/>
            <a:ext cx="238796" cy="310397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Text Placeholder 112">
            <a:extLst>
              <a:ext uri="{FF2B5EF4-FFF2-40B4-BE49-F238E27FC236}">
                <a16:creationId xmlns:a16="http://schemas.microsoft.com/office/drawing/2014/main" id="{BF8B7ACB-4AD3-95E4-52B9-48EE862353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53412" y="2311954"/>
            <a:ext cx="2538412" cy="249299"/>
          </a:xfrm>
        </p:spPr>
        <p:txBody>
          <a:bodyPr lIns="0" tIns="0" rIns="0" bIns="0">
            <a:noAutofit/>
          </a:bodyPr>
          <a:lstStyle>
            <a:lvl1pPr algn="ctr"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7" name="Text Placeholder 112">
            <a:extLst>
              <a:ext uri="{FF2B5EF4-FFF2-40B4-BE49-F238E27FC236}">
                <a16:creationId xmlns:a16="http://schemas.microsoft.com/office/drawing/2014/main" id="{AE706197-9E38-6406-7D25-E99A84F43B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1431" y="3862375"/>
            <a:ext cx="839659" cy="297990"/>
          </a:xfrm>
        </p:spPr>
        <p:txBody>
          <a:bodyPr lIns="0" tIns="0" rIns="0" bIns="0">
            <a:noAutofit/>
          </a:bodyPr>
          <a:lstStyle>
            <a:lvl1pPr algn="ctr"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18" name="Text Placeholder 112">
            <a:extLst>
              <a:ext uri="{FF2B5EF4-FFF2-40B4-BE49-F238E27FC236}">
                <a16:creationId xmlns:a16="http://schemas.microsoft.com/office/drawing/2014/main" id="{B0E4C5BF-8128-3F37-601F-CB959181EE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65878" y="3862375"/>
            <a:ext cx="839659" cy="297990"/>
          </a:xfrm>
        </p:spPr>
        <p:txBody>
          <a:bodyPr lIns="0" tIns="0" rIns="0" bIns="0">
            <a:noAutofit/>
          </a:bodyPr>
          <a:lstStyle>
            <a:lvl1pPr algn="ctr"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19" name="Text Placeholder 112">
            <a:extLst>
              <a:ext uri="{FF2B5EF4-FFF2-40B4-BE49-F238E27FC236}">
                <a16:creationId xmlns:a16="http://schemas.microsoft.com/office/drawing/2014/main" id="{CB152A12-9B39-1899-CF16-8319B655F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11494" y="3862375"/>
            <a:ext cx="839659" cy="297990"/>
          </a:xfrm>
        </p:spPr>
        <p:txBody>
          <a:bodyPr lIns="0" tIns="0" rIns="0" bIns="0">
            <a:noAutofit/>
          </a:bodyPr>
          <a:lstStyle>
            <a:lvl1pPr algn="ctr"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0" name="Text Placeholder 112">
            <a:extLst>
              <a:ext uri="{FF2B5EF4-FFF2-40B4-BE49-F238E27FC236}">
                <a16:creationId xmlns:a16="http://schemas.microsoft.com/office/drawing/2014/main" id="{62724736-F5CA-18AA-87C2-7652B97AD2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75941" y="3862375"/>
            <a:ext cx="839659" cy="297990"/>
          </a:xfrm>
        </p:spPr>
        <p:txBody>
          <a:bodyPr lIns="0" tIns="0" rIns="0" bIns="0">
            <a:noAutofit/>
          </a:bodyPr>
          <a:lstStyle>
            <a:lvl1pPr algn="ctr"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1" name="Text Placeholder 112">
            <a:extLst>
              <a:ext uri="{FF2B5EF4-FFF2-40B4-BE49-F238E27FC236}">
                <a16:creationId xmlns:a16="http://schemas.microsoft.com/office/drawing/2014/main" id="{7B4A3D7F-C0A1-DD58-DB95-2F4823A59F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94" y="4479683"/>
            <a:ext cx="3091705" cy="569645"/>
          </a:xfrm>
        </p:spPr>
        <p:txBody>
          <a:bodyPr lIns="0" tIns="0" rIns="0" bIns="0">
            <a:noAutofit/>
          </a:bodyPr>
          <a:lstStyle>
            <a:lvl1pPr algn="ctr"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cxnSp>
        <p:nvCxnSpPr>
          <p:cNvPr id="21" name="Straight Arrow Connector 20" descr="Arrow pointing towards the right">
            <a:extLst>
              <a:ext uri="{FF2B5EF4-FFF2-40B4-BE49-F238E27FC236}">
                <a16:creationId xmlns:a16="http://schemas.microsoft.com/office/drawing/2014/main" id="{AE1E97A5-F1EF-80A6-3210-C620504D4743}"/>
              </a:ext>
            </a:extLst>
          </p:cNvPr>
          <p:cNvCxnSpPr>
            <a:cxnSpLocks/>
          </p:cNvCxnSpPr>
          <p:nvPr userDrawn="1"/>
        </p:nvCxnSpPr>
        <p:spPr>
          <a:xfrm>
            <a:off x="4350544" y="4066235"/>
            <a:ext cx="284956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Top Corners Rounded 125">
            <a:extLst>
              <a:ext uri="{FF2B5EF4-FFF2-40B4-BE49-F238E27FC236}">
                <a16:creationId xmlns:a16="http://schemas.microsoft.com/office/drawing/2014/main" id="{9E206649-CF1A-24D0-BE56-1D6CD7C8C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35503" y="1411582"/>
            <a:ext cx="6973886" cy="3285551"/>
          </a:xfrm>
          <a:prstGeom prst="roundRect">
            <a:avLst>
              <a:gd name="adj" fmla="val 3447"/>
            </a:avLst>
          </a:prstGeom>
          <a:ln w="19050" cap="rnd">
            <a:solidFill>
              <a:srgbClr val="C0C0C0"/>
            </a:solidFill>
            <a:headEnd type="none" w="sm" len="sm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0631" tIns="88505" rIns="110631" bIns="885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5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err="1">
              <a:ln>
                <a:noFill/>
              </a:ln>
              <a:gradFill>
                <a:gsLst>
                  <a:gs pos="25287">
                    <a:srgbClr val="FFFFFF"/>
                  </a:gs>
                  <a:gs pos="45000">
                    <a:srgbClr val="FFFFFF"/>
                  </a:gs>
                </a:gsLst>
                <a:lin ang="5400000" scaled="1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3" name="Rectangle: Top Corners Rounded 125">
            <a:extLst>
              <a:ext uri="{FF2B5EF4-FFF2-40B4-BE49-F238E27FC236}">
                <a16:creationId xmlns:a16="http://schemas.microsoft.com/office/drawing/2014/main" id="{EC3F3971-23AD-CE4D-9442-1913D8BFD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35503" y="1411582"/>
            <a:ext cx="6973886" cy="3285551"/>
          </a:xfrm>
          <a:prstGeom prst="roundRect">
            <a:avLst>
              <a:gd name="adj" fmla="val 3447"/>
            </a:avLst>
          </a:prstGeom>
          <a:ln w="19050" cap="rnd">
            <a:solidFill>
              <a:srgbClr val="C0C0C0"/>
            </a:solidFill>
            <a:headEnd type="none" w="sm" len="sm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0631" tIns="88505" rIns="110631" bIns="885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5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err="1">
              <a:ln>
                <a:noFill/>
              </a:ln>
              <a:gradFill>
                <a:gsLst>
                  <a:gs pos="25287">
                    <a:srgbClr val="FFFFFF"/>
                  </a:gs>
                  <a:gs pos="45000">
                    <a:srgbClr val="FFFFFF"/>
                  </a:gs>
                </a:gsLst>
                <a:lin ang="5400000" scaled="1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A3CE76F-7E49-7BE3-1E67-1156EE2D16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735865" y="1597178"/>
            <a:ext cx="6773161" cy="2844343"/>
            <a:chOff x="4735865" y="1597178"/>
            <a:chExt cx="6773161" cy="284434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D35F45B-9C75-9AC0-BFBA-1C00520D51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735865" y="1597178"/>
              <a:ext cx="6773161" cy="2844343"/>
              <a:chOff x="4735865" y="1597178"/>
              <a:chExt cx="6773161" cy="2844343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F336EFAC-77F2-0108-2467-DEB7B30EE5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4735865" y="1597178"/>
                <a:ext cx="6773161" cy="875405"/>
                <a:chOff x="4735865" y="1597178"/>
                <a:chExt cx="6773161" cy="875405"/>
              </a:xfrm>
            </p:grpSpPr>
            <p:sp>
              <p:nvSpPr>
                <p:cNvPr id="35" name="Rounded Rectangle 6">
                  <a:extLst>
                    <a:ext uri="{FF2B5EF4-FFF2-40B4-BE49-F238E27FC236}">
                      <a16:creationId xmlns:a16="http://schemas.microsoft.com/office/drawing/2014/main" id="{28539D4A-011B-2AAE-0CEF-3EF46E34E238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47358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6" name="Rounded Rectangle 10">
                  <a:extLst>
                    <a:ext uri="{FF2B5EF4-FFF2-40B4-BE49-F238E27FC236}">
                      <a16:creationId xmlns:a16="http://schemas.microsoft.com/office/drawing/2014/main" id="{C0C868B7-1601-80A6-3727-8B172B0BF69C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57147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7" name="Rounded Rectangle 14">
                  <a:extLst>
                    <a:ext uri="{FF2B5EF4-FFF2-40B4-BE49-F238E27FC236}">
                      <a16:creationId xmlns:a16="http://schemas.microsoft.com/office/drawing/2014/main" id="{18042272-AC14-97CD-7510-B83E24863186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66936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8" name="Rounded Rectangle 18">
                  <a:extLst>
                    <a:ext uri="{FF2B5EF4-FFF2-40B4-BE49-F238E27FC236}">
                      <a16:creationId xmlns:a16="http://schemas.microsoft.com/office/drawing/2014/main" id="{B8A2E144-2749-BA5E-167D-AA2B60E977B3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76725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9" name="Rounded Rectangle 22">
                  <a:extLst>
                    <a:ext uri="{FF2B5EF4-FFF2-40B4-BE49-F238E27FC236}">
                      <a16:creationId xmlns:a16="http://schemas.microsoft.com/office/drawing/2014/main" id="{449392A6-5FC5-E3DF-43F9-CC45BBC38A50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86514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0" name="Rounded Rectangle 26">
                  <a:extLst>
                    <a:ext uri="{FF2B5EF4-FFF2-40B4-BE49-F238E27FC236}">
                      <a16:creationId xmlns:a16="http://schemas.microsoft.com/office/drawing/2014/main" id="{2B3C0639-F44A-2B52-1166-1DBBFBDF7796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 bwMode="auto">
                <a:xfrm>
                  <a:off x="9630365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1" name="Rounded Rectangle 39">
                  <a:extLst>
                    <a:ext uri="{FF2B5EF4-FFF2-40B4-BE49-F238E27FC236}">
                      <a16:creationId xmlns:a16="http://schemas.microsoft.com/office/drawing/2014/main" id="{284EE6FB-872B-6FB5-78DD-A5DC9AE6F492}"/>
                    </a:ext>
                    <a:ext uri="{C183D7F6-B498-43B3-948B-1728B52AA6E4}">
                      <adec:decorative xmlns:adec="http://schemas.microsoft.com/office/drawing/2017/decorative" val="0"/>
                    </a:ext>
                  </a:extLst>
                </p:cNvPr>
                <p:cNvSpPr/>
                <p:nvPr/>
              </p:nvSpPr>
              <p:spPr bwMode="auto">
                <a:xfrm>
                  <a:off x="10609266" y="1597178"/>
                  <a:ext cx="899760" cy="875405"/>
                </a:xfrm>
                <a:prstGeom prst="roundRect">
                  <a:avLst>
                    <a:gd name="adj" fmla="val 5399"/>
                  </a:avLst>
                </a:prstGeom>
                <a:solidFill>
                  <a:srgbClr val="FFFFFF">
                    <a:alpha val="84000"/>
                  </a:srgbClr>
                </a:solidFill>
                <a:ln>
                  <a:noFill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25B61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3" name="Rounded Rectangle 30">
                <a:extLst>
                  <a:ext uri="{FF2B5EF4-FFF2-40B4-BE49-F238E27FC236}">
                    <a16:creationId xmlns:a16="http://schemas.microsoft.com/office/drawing/2014/main" id="{5A08E290-E599-591A-70A9-6B51AD55374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735865" y="2706862"/>
                <a:ext cx="6773160" cy="749808"/>
              </a:xfrm>
              <a:prstGeom prst="roundRect">
                <a:avLst>
                  <a:gd name="adj" fmla="val 5399"/>
                </a:avLst>
              </a:prstGeom>
              <a:solidFill>
                <a:srgbClr val="FFFFFF">
                  <a:alpha val="84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225B61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ounded Rectangle 30">
                <a:extLst>
                  <a:ext uri="{FF2B5EF4-FFF2-40B4-BE49-F238E27FC236}">
                    <a16:creationId xmlns:a16="http://schemas.microsoft.com/office/drawing/2014/main" id="{E0FAD1E0-423D-EF3F-312C-FBAC8C0B509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735865" y="3690949"/>
                <a:ext cx="6773160" cy="750572"/>
              </a:xfrm>
              <a:prstGeom prst="roundRect">
                <a:avLst>
                  <a:gd name="adj" fmla="val 5399"/>
                </a:avLst>
              </a:prstGeom>
              <a:solidFill>
                <a:srgbClr val="FFFFFF">
                  <a:alpha val="84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225B61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D5519B8-9FCC-9358-F22F-4416B8857E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6196" y="2789602"/>
              <a:ext cx="548640" cy="55250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1600" dist="50800" dir="2700000" algn="tl" rotWithShape="0">
                <a:schemeClr val="bg1">
                  <a:lumMod val="50000"/>
                  <a:lumOff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634CD60-6ABD-26E6-31BE-4D960C89A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1493" y="2789602"/>
              <a:ext cx="548640" cy="55250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1600" dist="50800" dir="2700000" algn="tl" rotWithShape="0">
                <a:schemeClr val="bg1">
                  <a:lumMod val="50000"/>
                  <a:lumOff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02F3F00-F849-E66A-457B-2C2942FDE0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42898" y="2789602"/>
              <a:ext cx="548640" cy="55250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1600" dist="50800" dir="2700000" algn="tl" rotWithShape="0">
                <a:schemeClr val="bg1">
                  <a:lumMod val="50000"/>
                  <a:lumOff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98D1892-A4B6-DCB9-FFA2-70C9D463FC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05273" y="2789602"/>
              <a:ext cx="548640" cy="55250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1600" dist="50800" dir="2700000" algn="tl" rotWithShape="0">
                <a:schemeClr val="bg1">
                  <a:lumMod val="50000"/>
                  <a:lumOff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</p:grpSp>
      <p:sp>
        <p:nvSpPr>
          <p:cNvPr id="114" name="Text Placeholder 112">
            <a:extLst>
              <a:ext uri="{FF2B5EF4-FFF2-40B4-BE49-F238E27FC236}">
                <a16:creationId xmlns:a16="http://schemas.microsoft.com/office/drawing/2014/main" id="{1F3F39B8-8E08-FEB0-8A5C-5DB5182F4F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7125" y="934820"/>
            <a:ext cx="3739083" cy="249299"/>
          </a:xfrm>
        </p:spPr>
        <p:txBody>
          <a:bodyPr lIns="0" tIns="0" rIns="0" bIns="0">
            <a:noAutofit/>
          </a:bodyPr>
          <a:lstStyle>
            <a:lvl1pPr algn="ctr"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6" name="Text Placeholder 112">
            <a:extLst>
              <a:ext uri="{FF2B5EF4-FFF2-40B4-BE49-F238E27FC236}">
                <a16:creationId xmlns:a16="http://schemas.microsoft.com/office/drawing/2014/main" id="{1AE73D21-53BF-7C83-7A59-B98CBDC27A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48468" y="1302824"/>
            <a:ext cx="2396396" cy="221599"/>
          </a:xfrm>
          <a:solidFill>
            <a:srgbClr val="F7F7F6"/>
          </a:solidFill>
        </p:spPr>
        <p:txBody>
          <a:bodyPr lIns="0" tIns="0" rIns="0" bIns="0">
            <a:noAutofit/>
          </a:bodyPr>
          <a:lstStyle>
            <a:lvl1pPr algn="ctr"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4B2E4CA6-550B-FE18-E11B-E1ACE2D514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7916" r="-7916"/>
          <a:stretch/>
        </p:blipFill>
        <p:spPr>
          <a:xfrm>
            <a:off x="5015230" y="1695161"/>
            <a:ext cx="341030" cy="293600"/>
          </a:xfrm>
          <a:prstGeom prst="rect">
            <a:avLst/>
          </a:prstGeom>
          <a:effectLst/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5225CBD6-058D-A19E-DB0A-0CD9E979F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-7916" r="-7916"/>
          <a:stretch/>
        </p:blipFill>
        <p:spPr>
          <a:xfrm>
            <a:off x="5994130" y="1695162"/>
            <a:ext cx="341030" cy="293598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54DA14E8-FFA6-5A81-1A42-97360F9BC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-7916" r="-7916"/>
          <a:stretch/>
        </p:blipFill>
        <p:spPr>
          <a:xfrm>
            <a:off x="6973030" y="1695161"/>
            <a:ext cx="341030" cy="2936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8E04BE7-1241-F367-04A9-4C9F0E615D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7916" r="-7916"/>
          <a:stretch/>
        </p:blipFill>
        <p:spPr>
          <a:xfrm>
            <a:off x="7942200" y="1686785"/>
            <a:ext cx="360490" cy="310352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68181E3D-102F-87A8-7314-6D3931FE6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-7916" r="-7916"/>
          <a:stretch/>
        </p:blipFill>
        <p:spPr>
          <a:xfrm>
            <a:off x="8923002" y="1688421"/>
            <a:ext cx="356686" cy="30708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0DABE0F-B00C-460B-E9F9-E3D3BCC3C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27131" y="1710142"/>
            <a:ext cx="306229" cy="2636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Text Placeholder 112">
            <a:extLst>
              <a:ext uri="{FF2B5EF4-FFF2-40B4-BE49-F238E27FC236}">
                <a16:creationId xmlns:a16="http://schemas.microsoft.com/office/drawing/2014/main" id="{96D2FA3F-43AC-8A39-304A-3A6029475E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858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4" name="Text Placeholder 112">
            <a:extLst>
              <a:ext uri="{FF2B5EF4-FFF2-40B4-BE49-F238E27FC236}">
                <a16:creationId xmlns:a16="http://schemas.microsoft.com/office/drawing/2014/main" id="{6736671D-F24A-F4F0-CE9A-8E96F5855A2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710305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5" name="Text Placeholder 112">
            <a:extLst>
              <a:ext uri="{FF2B5EF4-FFF2-40B4-BE49-F238E27FC236}">
                <a16:creationId xmlns:a16="http://schemas.microsoft.com/office/drawing/2014/main" id="{D1B8DC72-2474-F8EF-EEB3-19A91D56EBC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267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6" name="Text Placeholder 112">
            <a:extLst>
              <a:ext uri="{FF2B5EF4-FFF2-40B4-BE49-F238E27FC236}">
                <a16:creationId xmlns:a16="http://schemas.microsoft.com/office/drawing/2014/main" id="{BFFC4837-1258-70D6-C857-8888AE46D7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678141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7" name="Text Placeholder 112">
            <a:extLst>
              <a:ext uri="{FF2B5EF4-FFF2-40B4-BE49-F238E27FC236}">
                <a16:creationId xmlns:a16="http://schemas.microsoft.com/office/drawing/2014/main" id="{D0B04E31-3DF2-19C6-F8CC-D437B84F0DF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647241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8" name="Text Placeholder 112">
            <a:extLst>
              <a:ext uri="{FF2B5EF4-FFF2-40B4-BE49-F238E27FC236}">
                <a16:creationId xmlns:a16="http://schemas.microsoft.com/office/drawing/2014/main" id="{E17A4FF8-742E-5B83-9D55-49FF0631702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39983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29" name="Text Placeholder 112">
            <a:extLst>
              <a:ext uri="{FF2B5EF4-FFF2-40B4-BE49-F238E27FC236}">
                <a16:creationId xmlns:a16="http://schemas.microsoft.com/office/drawing/2014/main" id="{9CF1ABE1-582A-8E9F-C84E-DBEC36FF111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628328" y="2093821"/>
            <a:ext cx="880523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31" name="Text Placeholder 112">
            <a:extLst>
              <a:ext uri="{FF2B5EF4-FFF2-40B4-BE49-F238E27FC236}">
                <a16:creationId xmlns:a16="http://schemas.microsoft.com/office/drawing/2014/main" id="{CF0A1013-D74D-1C00-C8DD-353C629A0C3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125607" y="2925269"/>
            <a:ext cx="510018" cy="327789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</a:t>
            </a:r>
          </a:p>
        </p:txBody>
      </p:sp>
      <p:sp>
        <p:nvSpPr>
          <p:cNvPr id="132" name="Text Placeholder 112">
            <a:extLst>
              <a:ext uri="{FF2B5EF4-FFF2-40B4-BE49-F238E27FC236}">
                <a16:creationId xmlns:a16="http://schemas.microsoft.com/office/drawing/2014/main" id="{455D3A56-30A9-9350-9233-FDB515E1037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15804" y="2922556"/>
            <a:ext cx="532663" cy="327789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</a:t>
            </a:r>
          </a:p>
        </p:txBody>
      </p:sp>
      <p:sp>
        <p:nvSpPr>
          <p:cNvPr id="130" name="Text Placeholder 112">
            <a:extLst>
              <a:ext uri="{FF2B5EF4-FFF2-40B4-BE49-F238E27FC236}">
                <a16:creationId xmlns:a16="http://schemas.microsoft.com/office/drawing/2014/main" id="{F0D141F7-696C-3083-DD6A-6F756E1D5A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28164" y="2946381"/>
            <a:ext cx="1637005" cy="270769"/>
          </a:xfrm>
          <a:noFill/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1100" b="0" i="0" u="none" strike="noStrike" kern="1200" cap="none" spc="0" normalizeH="0" baseline="0" dirty="0" smtClean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33" name="Text Placeholder 112">
            <a:extLst>
              <a:ext uri="{FF2B5EF4-FFF2-40B4-BE49-F238E27FC236}">
                <a16:creationId xmlns:a16="http://schemas.microsoft.com/office/drawing/2014/main" id="{C6786EEE-48AB-B6F6-1B52-085A9019A13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50192" y="2922556"/>
            <a:ext cx="518314" cy="327789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</a:t>
            </a:r>
          </a:p>
        </p:txBody>
      </p:sp>
      <p:sp>
        <p:nvSpPr>
          <p:cNvPr id="134" name="Text Placeholder 112">
            <a:extLst>
              <a:ext uri="{FF2B5EF4-FFF2-40B4-BE49-F238E27FC236}">
                <a16:creationId xmlns:a16="http://schemas.microsoft.com/office/drawing/2014/main" id="{9E834C1C-4538-71F3-D954-67F873ECF0D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793971" y="2922556"/>
            <a:ext cx="573238" cy="327789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076625B3-D60A-75F9-49D5-511C15653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008563" y="3741267"/>
            <a:ext cx="6411111" cy="639841"/>
            <a:chOff x="5059092" y="3781357"/>
            <a:chExt cx="5789109" cy="577764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8B054F5-26DC-81D2-2EEB-2A6368A111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5059092" y="3781357"/>
              <a:ext cx="678456" cy="577758"/>
              <a:chOff x="5489021" y="3517010"/>
              <a:chExt cx="636537" cy="482725"/>
            </a:xfrm>
            <a:solidFill>
              <a:schemeClr val="accent3">
                <a:lumMod val="20000"/>
                <a:lumOff val="80000"/>
              </a:schemeClr>
            </a:solidFill>
            <a:effectLst/>
          </p:grpSpPr>
          <p:sp>
            <p:nvSpPr>
              <p:cNvPr id="72" name="Freeform 24">
                <a:extLst>
                  <a:ext uri="{FF2B5EF4-FFF2-40B4-BE49-F238E27FC236}">
                    <a16:creationId xmlns:a16="http://schemas.microsoft.com/office/drawing/2014/main" id="{915584CA-8AD7-332E-4FBE-15673E00B53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9021" y="3517010"/>
                <a:ext cx="636537" cy="472723"/>
              </a:xfrm>
              <a:custGeom>
                <a:avLst/>
                <a:gdLst>
                  <a:gd name="connsiteX0" fmla="*/ 81 w 362254"/>
                  <a:gd name="connsiteY0" fmla="*/ 45272 h 299942"/>
                  <a:gd name="connsiteX1" fmla="*/ 45352 w 362254"/>
                  <a:gd name="connsiteY1" fmla="*/ 0 h 299942"/>
                  <a:gd name="connsiteX2" fmla="*/ 124950 w 362254"/>
                  <a:gd name="connsiteY2" fmla="*/ 0 h 299942"/>
                  <a:gd name="connsiteX3" fmla="*/ 153884 w 362254"/>
                  <a:gd name="connsiteY3" fmla="*/ 10463 h 299942"/>
                  <a:gd name="connsiteX4" fmla="*/ 201791 w 362254"/>
                  <a:gd name="connsiteY4" fmla="*/ 50302 h 299942"/>
                  <a:gd name="connsiteX5" fmla="*/ 316982 w 362254"/>
                  <a:gd name="connsiteY5" fmla="*/ 50302 h 299942"/>
                  <a:gd name="connsiteX6" fmla="*/ 362254 w 362254"/>
                  <a:gd name="connsiteY6" fmla="*/ 95574 h 299942"/>
                  <a:gd name="connsiteX7" fmla="*/ 362254 w 362254"/>
                  <a:gd name="connsiteY7" fmla="*/ 110704 h 299942"/>
                  <a:gd name="connsiteX8" fmla="*/ 89055 w 362254"/>
                  <a:gd name="connsiteY8" fmla="*/ 110704 h 299942"/>
                  <a:gd name="connsiteX9" fmla="*/ 45131 w 362254"/>
                  <a:gd name="connsiteY9" fmla="*/ 145010 h 299942"/>
                  <a:gd name="connsiteX10" fmla="*/ 6439 w 362254"/>
                  <a:gd name="connsiteY10" fmla="*/ 299940 h 299942"/>
                  <a:gd name="connsiteX11" fmla="*/ 6439 w 362254"/>
                  <a:gd name="connsiteY11" fmla="*/ 299940 h 299942"/>
                  <a:gd name="connsiteX12" fmla="*/ 0 w 362254"/>
                  <a:gd name="connsiteY12" fmla="*/ 276640 h 299942"/>
                  <a:gd name="connsiteX13" fmla="*/ 81 w 362254"/>
                  <a:gd name="connsiteY13" fmla="*/ 45272 h 2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2254" h="299942">
                    <a:moveTo>
                      <a:pt x="81" y="45272"/>
                    </a:moveTo>
                    <a:cubicBezTo>
                      <a:pt x="81" y="20269"/>
                      <a:pt x="20349" y="0"/>
                      <a:pt x="45352" y="0"/>
                    </a:cubicBezTo>
                    <a:lnTo>
                      <a:pt x="124950" y="0"/>
                    </a:lnTo>
                    <a:cubicBezTo>
                      <a:pt x="135520" y="3"/>
                      <a:pt x="145756" y="3704"/>
                      <a:pt x="153884" y="10463"/>
                    </a:cubicBezTo>
                    <a:lnTo>
                      <a:pt x="201791" y="50302"/>
                    </a:lnTo>
                    <a:lnTo>
                      <a:pt x="316982" y="50302"/>
                    </a:lnTo>
                    <a:cubicBezTo>
                      <a:pt x="341984" y="50302"/>
                      <a:pt x="362254" y="70571"/>
                      <a:pt x="362254" y="95574"/>
                    </a:cubicBezTo>
                    <a:lnTo>
                      <a:pt x="362254" y="110704"/>
                    </a:lnTo>
                    <a:lnTo>
                      <a:pt x="89055" y="110704"/>
                    </a:lnTo>
                    <a:cubicBezTo>
                      <a:pt x="68275" y="110704"/>
                      <a:pt x="50164" y="124849"/>
                      <a:pt x="45131" y="145010"/>
                    </a:cubicBezTo>
                    <a:lnTo>
                      <a:pt x="6439" y="299940"/>
                    </a:lnTo>
                    <a:cubicBezTo>
                      <a:pt x="7304" y="296499"/>
                      <a:pt x="6439" y="300041"/>
                      <a:pt x="6439" y="299940"/>
                    </a:cubicBezTo>
                    <a:cubicBezTo>
                      <a:pt x="2211" y="292904"/>
                      <a:pt x="-15" y="284847"/>
                      <a:pt x="0" y="276640"/>
                    </a:cubicBezTo>
                    <a:lnTo>
                      <a:pt x="81" y="452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73" name="Freeform 25">
                <a:extLst>
                  <a:ext uri="{FF2B5EF4-FFF2-40B4-BE49-F238E27FC236}">
                    <a16:creationId xmlns:a16="http://schemas.microsoft.com/office/drawing/2014/main" id="{FCFD5678-C887-D94E-54A6-376E07028C15}"/>
                  </a:ext>
                </a:extLst>
              </p:cNvPr>
              <p:cNvSpPr/>
              <p:nvPr/>
            </p:nvSpPr>
            <p:spPr>
              <a:xfrm>
                <a:off x="5541298" y="3724501"/>
                <a:ext cx="549129" cy="275234"/>
              </a:xfrm>
              <a:custGeom>
                <a:avLst/>
                <a:gdLst>
                  <a:gd name="connsiteX0" fmla="*/ 301 w 366523"/>
                  <a:gd name="connsiteY0" fmla="*/ 168552 h 181046"/>
                  <a:gd name="connsiteX1" fmla="*/ 7628 w 366523"/>
                  <a:gd name="connsiteY1" fmla="*/ 180747 h 181046"/>
                  <a:gd name="connsiteX2" fmla="*/ 10060 w 366523"/>
                  <a:gd name="connsiteY2" fmla="*/ 181047 h 181046"/>
                  <a:gd name="connsiteX3" fmla="*/ 296579 w 366523"/>
                  <a:gd name="connsiteY3" fmla="*/ 181047 h 181046"/>
                  <a:gd name="connsiteX4" fmla="*/ 330745 w 366523"/>
                  <a:gd name="connsiteY4" fmla="*/ 154366 h 181046"/>
                  <a:gd name="connsiteX5" fmla="*/ 366217 w 366523"/>
                  <a:gd name="connsiteY5" fmla="*/ 12515 h 181046"/>
                  <a:gd name="connsiteX6" fmla="*/ 358916 w 366523"/>
                  <a:gd name="connsiteY6" fmla="*/ 304 h 181046"/>
                  <a:gd name="connsiteX7" fmla="*/ 356459 w 366523"/>
                  <a:gd name="connsiteY7" fmla="*/ 0 h 181046"/>
                  <a:gd name="connsiteX8" fmla="*/ 54165 w 366523"/>
                  <a:gd name="connsiteY8" fmla="*/ 0 h 181046"/>
                  <a:gd name="connsiteX9" fmla="*/ 39517 w 366523"/>
                  <a:gd name="connsiteY9" fmla="*/ 11429 h 181046"/>
                  <a:gd name="connsiteX10" fmla="*/ 301 w 366523"/>
                  <a:gd name="connsiteY10" fmla="*/ 168572 h 181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6523" h="181046">
                    <a:moveTo>
                      <a:pt x="301" y="168552"/>
                    </a:moveTo>
                    <a:cubicBezTo>
                      <a:pt x="-1043" y="173942"/>
                      <a:pt x="2237" y="179403"/>
                      <a:pt x="7628" y="180747"/>
                    </a:cubicBezTo>
                    <a:cubicBezTo>
                      <a:pt x="8424" y="180946"/>
                      <a:pt x="9240" y="181047"/>
                      <a:pt x="10060" y="181047"/>
                    </a:cubicBezTo>
                    <a:lnTo>
                      <a:pt x="296579" y="181047"/>
                    </a:lnTo>
                    <a:cubicBezTo>
                      <a:pt x="312740" y="181049"/>
                      <a:pt x="326829" y="170047"/>
                      <a:pt x="330745" y="154366"/>
                    </a:cubicBezTo>
                    <a:lnTo>
                      <a:pt x="366217" y="12515"/>
                    </a:lnTo>
                    <a:cubicBezTo>
                      <a:pt x="367574" y="7127"/>
                      <a:pt x="364304" y="1660"/>
                      <a:pt x="358916" y="304"/>
                    </a:cubicBezTo>
                    <a:cubicBezTo>
                      <a:pt x="358113" y="103"/>
                      <a:pt x="357288" y="0"/>
                      <a:pt x="356459" y="0"/>
                    </a:cubicBezTo>
                    <a:lnTo>
                      <a:pt x="54165" y="0"/>
                    </a:lnTo>
                    <a:cubicBezTo>
                      <a:pt x="47238" y="-4"/>
                      <a:pt x="41198" y="4708"/>
                      <a:pt x="39517" y="11429"/>
                    </a:cubicBezTo>
                    <a:lnTo>
                      <a:pt x="301" y="1685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7AA05AE-B32B-4516-C365-0A97E0A21F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6241641" y="3783020"/>
              <a:ext cx="678456" cy="576101"/>
              <a:chOff x="5377963" y="3518395"/>
              <a:chExt cx="636537" cy="481340"/>
            </a:xfrm>
            <a:solidFill>
              <a:schemeClr val="accent3">
                <a:lumMod val="20000"/>
                <a:lumOff val="80000"/>
              </a:schemeClr>
            </a:solidFill>
            <a:effectLst/>
          </p:grpSpPr>
          <p:sp>
            <p:nvSpPr>
              <p:cNvPr id="76" name="Freeform 24">
                <a:extLst>
                  <a:ext uri="{FF2B5EF4-FFF2-40B4-BE49-F238E27FC236}">
                    <a16:creationId xmlns:a16="http://schemas.microsoft.com/office/drawing/2014/main" id="{3DE4B5D1-6B02-01FA-F0FA-E888B79E52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77963" y="3518395"/>
                <a:ext cx="636537" cy="457108"/>
              </a:xfrm>
              <a:custGeom>
                <a:avLst/>
                <a:gdLst>
                  <a:gd name="connsiteX0" fmla="*/ 81 w 362254"/>
                  <a:gd name="connsiteY0" fmla="*/ 45272 h 299942"/>
                  <a:gd name="connsiteX1" fmla="*/ 45352 w 362254"/>
                  <a:gd name="connsiteY1" fmla="*/ 0 h 299942"/>
                  <a:gd name="connsiteX2" fmla="*/ 124950 w 362254"/>
                  <a:gd name="connsiteY2" fmla="*/ 0 h 299942"/>
                  <a:gd name="connsiteX3" fmla="*/ 153884 w 362254"/>
                  <a:gd name="connsiteY3" fmla="*/ 10463 h 299942"/>
                  <a:gd name="connsiteX4" fmla="*/ 201791 w 362254"/>
                  <a:gd name="connsiteY4" fmla="*/ 50302 h 299942"/>
                  <a:gd name="connsiteX5" fmla="*/ 316982 w 362254"/>
                  <a:gd name="connsiteY5" fmla="*/ 50302 h 299942"/>
                  <a:gd name="connsiteX6" fmla="*/ 362254 w 362254"/>
                  <a:gd name="connsiteY6" fmla="*/ 95574 h 299942"/>
                  <a:gd name="connsiteX7" fmla="*/ 362254 w 362254"/>
                  <a:gd name="connsiteY7" fmla="*/ 110704 h 299942"/>
                  <a:gd name="connsiteX8" fmla="*/ 89055 w 362254"/>
                  <a:gd name="connsiteY8" fmla="*/ 110704 h 299942"/>
                  <a:gd name="connsiteX9" fmla="*/ 45131 w 362254"/>
                  <a:gd name="connsiteY9" fmla="*/ 145010 h 299942"/>
                  <a:gd name="connsiteX10" fmla="*/ 6439 w 362254"/>
                  <a:gd name="connsiteY10" fmla="*/ 299940 h 299942"/>
                  <a:gd name="connsiteX11" fmla="*/ 6439 w 362254"/>
                  <a:gd name="connsiteY11" fmla="*/ 299940 h 299942"/>
                  <a:gd name="connsiteX12" fmla="*/ 0 w 362254"/>
                  <a:gd name="connsiteY12" fmla="*/ 276640 h 299942"/>
                  <a:gd name="connsiteX13" fmla="*/ 81 w 362254"/>
                  <a:gd name="connsiteY13" fmla="*/ 45272 h 2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2254" h="299942">
                    <a:moveTo>
                      <a:pt x="81" y="45272"/>
                    </a:moveTo>
                    <a:cubicBezTo>
                      <a:pt x="81" y="20269"/>
                      <a:pt x="20349" y="0"/>
                      <a:pt x="45352" y="0"/>
                    </a:cubicBezTo>
                    <a:lnTo>
                      <a:pt x="124950" y="0"/>
                    </a:lnTo>
                    <a:cubicBezTo>
                      <a:pt x="135520" y="3"/>
                      <a:pt x="145756" y="3704"/>
                      <a:pt x="153884" y="10463"/>
                    </a:cubicBezTo>
                    <a:lnTo>
                      <a:pt x="201791" y="50302"/>
                    </a:lnTo>
                    <a:lnTo>
                      <a:pt x="316982" y="50302"/>
                    </a:lnTo>
                    <a:cubicBezTo>
                      <a:pt x="341984" y="50302"/>
                      <a:pt x="362254" y="70571"/>
                      <a:pt x="362254" y="95574"/>
                    </a:cubicBezTo>
                    <a:lnTo>
                      <a:pt x="362254" y="110704"/>
                    </a:lnTo>
                    <a:lnTo>
                      <a:pt x="89055" y="110704"/>
                    </a:lnTo>
                    <a:cubicBezTo>
                      <a:pt x="68275" y="110704"/>
                      <a:pt x="50164" y="124849"/>
                      <a:pt x="45131" y="145010"/>
                    </a:cubicBezTo>
                    <a:lnTo>
                      <a:pt x="6439" y="299940"/>
                    </a:lnTo>
                    <a:cubicBezTo>
                      <a:pt x="7304" y="296499"/>
                      <a:pt x="6439" y="300041"/>
                      <a:pt x="6439" y="299940"/>
                    </a:cubicBezTo>
                    <a:cubicBezTo>
                      <a:pt x="2211" y="292904"/>
                      <a:pt x="-15" y="284847"/>
                      <a:pt x="0" y="276640"/>
                    </a:cubicBezTo>
                    <a:lnTo>
                      <a:pt x="81" y="452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77" name="Freeform 25">
                <a:extLst>
                  <a:ext uri="{FF2B5EF4-FFF2-40B4-BE49-F238E27FC236}">
                    <a16:creationId xmlns:a16="http://schemas.microsoft.com/office/drawing/2014/main" id="{9194F85C-1187-6831-A112-83740670A848}"/>
                  </a:ext>
                </a:extLst>
              </p:cNvPr>
              <p:cNvSpPr/>
              <p:nvPr/>
            </p:nvSpPr>
            <p:spPr>
              <a:xfrm>
                <a:off x="5430240" y="3724501"/>
                <a:ext cx="549129" cy="275234"/>
              </a:xfrm>
              <a:custGeom>
                <a:avLst/>
                <a:gdLst>
                  <a:gd name="connsiteX0" fmla="*/ 301 w 366523"/>
                  <a:gd name="connsiteY0" fmla="*/ 168552 h 181046"/>
                  <a:gd name="connsiteX1" fmla="*/ 7628 w 366523"/>
                  <a:gd name="connsiteY1" fmla="*/ 180747 h 181046"/>
                  <a:gd name="connsiteX2" fmla="*/ 10060 w 366523"/>
                  <a:gd name="connsiteY2" fmla="*/ 181047 h 181046"/>
                  <a:gd name="connsiteX3" fmla="*/ 296579 w 366523"/>
                  <a:gd name="connsiteY3" fmla="*/ 181047 h 181046"/>
                  <a:gd name="connsiteX4" fmla="*/ 330745 w 366523"/>
                  <a:gd name="connsiteY4" fmla="*/ 154366 h 181046"/>
                  <a:gd name="connsiteX5" fmla="*/ 366217 w 366523"/>
                  <a:gd name="connsiteY5" fmla="*/ 12515 h 181046"/>
                  <a:gd name="connsiteX6" fmla="*/ 358916 w 366523"/>
                  <a:gd name="connsiteY6" fmla="*/ 304 h 181046"/>
                  <a:gd name="connsiteX7" fmla="*/ 356459 w 366523"/>
                  <a:gd name="connsiteY7" fmla="*/ 0 h 181046"/>
                  <a:gd name="connsiteX8" fmla="*/ 54165 w 366523"/>
                  <a:gd name="connsiteY8" fmla="*/ 0 h 181046"/>
                  <a:gd name="connsiteX9" fmla="*/ 39517 w 366523"/>
                  <a:gd name="connsiteY9" fmla="*/ 11429 h 181046"/>
                  <a:gd name="connsiteX10" fmla="*/ 301 w 366523"/>
                  <a:gd name="connsiteY10" fmla="*/ 168572 h 181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6523" h="181046">
                    <a:moveTo>
                      <a:pt x="301" y="168552"/>
                    </a:moveTo>
                    <a:cubicBezTo>
                      <a:pt x="-1043" y="173942"/>
                      <a:pt x="2237" y="179403"/>
                      <a:pt x="7628" y="180747"/>
                    </a:cubicBezTo>
                    <a:cubicBezTo>
                      <a:pt x="8424" y="180946"/>
                      <a:pt x="9240" y="181047"/>
                      <a:pt x="10060" y="181047"/>
                    </a:cubicBezTo>
                    <a:lnTo>
                      <a:pt x="296579" y="181047"/>
                    </a:lnTo>
                    <a:cubicBezTo>
                      <a:pt x="312740" y="181049"/>
                      <a:pt x="326829" y="170047"/>
                      <a:pt x="330745" y="154366"/>
                    </a:cubicBezTo>
                    <a:lnTo>
                      <a:pt x="366217" y="12515"/>
                    </a:lnTo>
                    <a:cubicBezTo>
                      <a:pt x="367574" y="7127"/>
                      <a:pt x="364304" y="1660"/>
                      <a:pt x="358916" y="304"/>
                    </a:cubicBezTo>
                    <a:cubicBezTo>
                      <a:pt x="358113" y="103"/>
                      <a:pt x="357288" y="0"/>
                      <a:pt x="356459" y="0"/>
                    </a:cubicBezTo>
                    <a:lnTo>
                      <a:pt x="54165" y="0"/>
                    </a:lnTo>
                    <a:cubicBezTo>
                      <a:pt x="47238" y="-4"/>
                      <a:pt x="41198" y="4708"/>
                      <a:pt x="39517" y="11429"/>
                    </a:cubicBezTo>
                    <a:lnTo>
                      <a:pt x="301" y="1685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FC34C589-E54B-974E-A62F-4C9553D227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8883787" y="3798881"/>
              <a:ext cx="678456" cy="560232"/>
              <a:chOff x="5101605" y="3531653"/>
              <a:chExt cx="636537" cy="468082"/>
            </a:xfrm>
            <a:solidFill>
              <a:schemeClr val="accent3">
                <a:lumMod val="20000"/>
                <a:lumOff val="80000"/>
              </a:schemeClr>
            </a:solidFill>
            <a:effectLst/>
          </p:grpSpPr>
          <p:sp>
            <p:nvSpPr>
              <p:cNvPr id="82" name="Freeform 24">
                <a:extLst>
                  <a:ext uri="{FF2B5EF4-FFF2-40B4-BE49-F238E27FC236}">
                    <a16:creationId xmlns:a16="http://schemas.microsoft.com/office/drawing/2014/main" id="{7E3BDF8C-2DD7-BC24-5FFA-06FE15C7B80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01605" y="3531653"/>
                <a:ext cx="636537" cy="432689"/>
              </a:xfrm>
              <a:custGeom>
                <a:avLst/>
                <a:gdLst>
                  <a:gd name="connsiteX0" fmla="*/ 81 w 362254"/>
                  <a:gd name="connsiteY0" fmla="*/ 45272 h 299942"/>
                  <a:gd name="connsiteX1" fmla="*/ 45352 w 362254"/>
                  <a:gd name="connsiteY1" fmla="*/ 0 h 299942"/>
                  <a:gd name="connsiteX2" fmla="*/ 124950 w 362254"/>
                  <a:gd name="connsiteY2" fmla="*/ 0 h 299942"/>
                  <a:gd name="connsiteX3" fmla="*/ 153884 w 362254"/>
                  <a:gd name="connsiteY3" fmla="*/ 10463 h 299942"/>
                  <a:gd name="connsiteX4" fmla="*/ 201791 w 362254"/>
                  <a:gd name="connsiteY4" fmla="*/ 50302 h 299942"/>
                  <a:gd name="connsiteX5" fmla="*/ 316982 w 362254"/>
                  <a:gd name="connsiteY5" fmla="*/ 50302 h 299942"/>
                  <a:gd name="connsiteX6" fmla="*/ 362254 w 362254"/>
                  <a:gd name="connsiteY6" fmla="*/ 95574 h 299942"/>
                  <a:gd name="connsiteX7" fmla="*/ 362254 w 362254"/>
                  <a:gd name="connsiteY7" fmla="*/ 110704 h 299942"/>
                  <a:gd name="connsiteX8" fmla="*/ 89055 w 362254"/>
                  <a:gd name="connsiteY8" fmla="*/ 110704 h 299942"/>
                  <a:gd name="connsiteX9" fmla="*/ 45131 w 362254"/>
                  <a:gd name="connsiteY9" fmla="*/ 145010 h 299942"/>
                  <a:gd name="connsiteX10" fmla="*/ 6439 w 362254"/>
                  <a:gd name="connsiteY10" fmla="*/ 299940 h 299942"/>
                  <a:gd name="connsiteX11" fmla="*/ 6439 w 362254"/>
                  <a:gd name="connsiteY11" fmla="*/ 299940 h 299942"/>
                  <a:gd name="connsiteX12" fmla="*/ 0 w 362254"/>
                  <a:gd name="connsiteY12" fmla="*/ 276640 h 299942"/>
                  <a:gd name="connsiteX13" fmla="*/ 81 w 362254"/>
                  <a:gd name="connsiteY13" fmla="*/ 45272 h 2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2254" h="299942">
                    <a:moveTo>
                      <a:pt x="81" y="45272"/>
                    </a:moveTo>
                    <a:cubicBezTo>
                      <a:pt x="81" y="20269"/>
                      <a:pt x="20349" y="0"/>
                      <a:pt x="45352" y="0"/>
                    </a:cubicBezTo>
                    <a:lnTo>
                      <a:pt x="124950" y="0"/>
                    </a:lnTo>
                    <a:cubicBezTo>
                      <a:pt x="135520" y="3"/>
                      <a:pt x="145756" y="3704"/>
                      <a:pt x="153884" y="10463"/>
                    </a:cubicBezTo>
                    <a:lnTo>
                      <a:pt x="201791" y="50302"/>
                    </a:lnTo>
                    <a:lnTo>
                      <a:pt x="316982" y="50302"/>
                    </a:lnTo>
                    <a:cubicBezTo>
                      <a:pt x="341984" y="50302"/>
                      <a:pt x="362254" y="70571"/>
                      <a:pt x="362254" y="95574"/>
                    </a:cubicBezTo>
                    <a:lnTo>
                      <a:pt x="362254" y="110704"/>
                    </a:lnTo>
                    <a:lnTo>
                      <a:pt x="89055" y="110704"/>
                    </a:lnTo>
                    <a:cubicBezTo>
                      <a:pt x="68275" y="110704"/>
                      <a:pt x="50164" y="124849"/>
                      <a:pt x="45131" y="145010"/>
                    </a:cubicBezTo>
                    <a:lnTo>
                      <a:pt x="6439" y="299940"/>
                    </a:lnTo>
                    <a:cubicBezTo>
                      <a:pt x="7304" y="296499"/>
                      <a:pt x="6439" y="300041"/>
                      <a:pt x="6439" y="299940"/>
                    </a:cubicBezTo>
                    <a:cubicBezTo>
                      <a:pt x="2211" y="292904"/>
                      <a:pt x="-15" y="284847"/>
                      <a:pt x="0" y="276640"/>
                    </a:cubicBezTo>
                    <a:lnTo>
                      <a:pt x="81" y="452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83" name="Freeform 25">
                <a:extLst>
                  <a:ext uri="{FF2B5EF4-FFF2-40B4-BE49-F238E27FC236}">
                    <a16:creationId xmlns:a16="http://schemas.microsoft.com/office/drawing/2014/main" id="{F032B359-73E3-7672-3CDF-7EB158542ABF}"/>
                  </a:ext>
                </a:extLst>
              </p:cNvPr>
              <p:cNvSpPr/>
              <p:nvPr/>
            </p:nvSpPr>
            <p:spPr>
              <a:xfrm>
                <a:off x="5153880" y="3724501"/>
                <a:ext cx="549129" cy="275234"/>
              </a:xfrm>
              <a:custGeom>
                <a:avLst/>
                <a:gdLst>
                  <a:gd name="connsiteX0" fmla="*/ 301 w 366523"/>
                  <a:gd name="connsiteY0" fmla="*/ 168552 h 181046"/>
                  <a:gd name="connsiteX1" fmla="*/ 7628 w 366523"/>
                  <a:gd name="connsiteY1" fmla="*/ 180747 h 181046"/>
                  <a:gd name="connsiteX2" fmla="*/ 10060 w 366523"/>
                  <a:gd name="connsiteY2" fmla="*/ 181047 h 181046"/>
                  <a:gd name="connsiteX3" fmla="*/ 296579 w 366523"/>
                  <a:gd name="connsiteY3" fmla="*/ 181047 h 181046"/>
                  <a:gd name="connsiteX4" fmla="*/ 330745 w 366523"/>
                  <a:gd name="connsiteY4" fmla="*/ 154366 h 181046"/>
                  <a:gd name="connsiteX5" fmla="*/ 366217 w 366523"/>
                  <a:gd name="connsiteY5" fmla="*/ 12515 h 181046"/>
                  <a:gd name="connsiteX6" fmla="*/ 358916 w 366523"/>
                  <a:gd name="connsiteY6" fmla="*/ 304 h 181046"/>
                  <a:gd name="connsiteX7" fmla="*/ 356459 w 366523"/>
                  <a:gd name="connsiteY7" fmla="*/ 0 h 181046"/>
                  <a:gd name="connsiteX8" fmla="*/ 54165 w 366523"/>
                  <a:gd name="connsiteY8" fmla="*/ 0 h 181046"/>
                  <a:gd name="connsiteX9" fmla="*/ 39517 w 366523"/>
                  <a:gd name="connsiteY9" fmla="*/ 11429 h 181046"/>
                  <a:gd name="connsiteX10" fmla="*/ 301 w 366523"/>
                  <a:gd name="connsiteY10" fmla="*/ 168572 h 181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6523" h="181046">
                    <a:moveTo>
                      <a:pt x="301" y="168552"/>
                    </a:moveTo>
                    <a:cubicBezTo>
                      <a:pt x="-1043" y="173942"/>
                      <a:pt x="2237" y="179403"/>
                      <a:pt x="7628" y="180747"/>
                    </a:cubicBezTo>
                    <a:cubicBezTo>
                      <a:pt x="8424" y="180946"/>
                      <a:pt x="9240" y="181047"/>
                      <a:pt x="10060" y="181047"/>
                    </a:cubicBezTo>
                    <a:lnTo>
                      <a:pt x="296579" y="181047"/>
                    </a:lnTo>
                    <a:cubicBezTo>
                      <a:pt x="312740" y="181049"/>
                      <a:pt x="326829" y="170047"/>
                      <a:pt x="330745" y="154366"/>
                    </a:cubicBezTo>
                    <a:lnTo>
                      <a:pt x="366217" y="12515"/>
                    </a:lnTo>
                    <a:cubicBezTo>
                      <a:pt x="367574" y="7127"/>
                      <a:pt x="364304" y="1660"/>
                      <a:pt x="358916" y="304"/>
                    </a:cubicBezTo>
                    <a:cubicBezTo>
                      <a:pt x="358113" y="103"/>
                      <a:pt x="357288" y="0"/>
                      <a:pt x="356459" y="0"/>
                    </a:cubicBezTo>
                    <a:lnTo>
                      <a:pt x="54165" y="0"/>
                    </a:lnTo>
                    <a:cubicBezTo>
                      <a:pt x="47238" y="-4"/>
                      <a:pt x="41198" y="4708"/>
                      <a:pt x="39517" y="11429"/>
                    </a:cubicBezTo>
                    <a:lnTo>
                      <a:pt x="301" y="1685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CAA6772-DBF0-8627-89B6-756D20214A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10169745" y="3807770"/>
              <a:ext cx="678456" cy="551351"/>
              <a:chOff x="4930253" y="3539074"/>
              <a:chExt cx="636537" cy="460661"/>
            </a:xfrm>
            <a:solidFill>
              <a:schemeClr val="accent3">
                <a:lumMod val="20000"/>
                <a:lumOff val="80000"/>
              </a:schemeClr>
            </a:solidFill>
            <a:effectLst/>
          </p:grpSpPr>
          <p:sp>
            <p:nvSpPr>
              <p:cNvPr id="86" name="Freeform 24">
                <a:extLst>
                  <a:ext uri="{FF2B5EF4-FFF2-40B4-BE49-F238E27FC236}">
                    <a16:creationId xmlns:a16="http://schemas.microsoft.com/office/drawing/2014/main" id="{E0F82F41-F067-C700-4AC0-756162E74B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30253" y="3539074"/>
                <a:ext cx="636537" cy="432690"/>
              </a:xfrm>
              <a:custGeom>
                <a:avLst/>
                <a:gdLst>
                  <a:gd name="connsiteX0" fmla="*/ 81 w 362254"/>
                  <a:gd name="connsiteY0" fmla="*/ 45272 h 299942"/>
                  <a:gd name="connsiteX1" fmla="*/ 45352 w 362254"/>
                  <a:gd name="connsiteY1" fmla="*/ 0 h 299942"/>
                  <a:gd name="connsiteX2" fmla="*/ 124950 w 362254"/>
                  <a:gd name="connsiteY2" fmla="*/ 0 h 299942"/>
                  <a:gd name="connsiteX3" fmla="*/ 153884 w 362254"/>
                  <a:gd name="connsiteY3" fmla="*/ 10463 h 299942"/>
                  <a:gd name="connsiteX4" fmla="*/ 201791 w 362254"/>
                  <a:gd name="connsiteY4" fmla="*/ 50302 h 299942"/>
                  <a:gd name="connsiteX5" fmla="*/ 316982 w 362254"/>
                  <a:gd name="connsiteY5" fmla="*/ 50302 h 299942"/>
                  <a:gd name="connsiteX6" fmla="*/ 362254 w 362254"/>
                  <a:gd name="connsiteY6" fmla="*/ 95574 h 299942"/>
                  <a:gd name="connsiteX7" fmla="*/ 362254 w 362254"/>
                  <a:gd name="connsiteY7" fmla="*/ 110704 h 299942"/>
                  <a:gd name="connsiteX8" fmla="*/ 89055 w 362254"/>
                  <a:gd name="connsiteY8" fmla="*/ 110704 h 299942"/>
                  <a:gd name="connsiteX9" fmla="*/ 45131 w 362254"/>
                  <a:gd name="connsiteY9" fmla="*/ 145010 h 299942"/>
                  <a:gd name="connsiteX10" fmla="*/ 6439 w 362254"/>
                  <a:gd name="connsiteY10" fmla="*/ 299940 h 299942"/>
                  <a:gd name="connsiteX11" fmla="*/ 6439 w 362254"/>
                  <a:gd name="connsiteY11" fmla="*/ 299940 h 299942"/>
                  <a:gd name="connsiteX12" fmla="*/ 0 w 362254"/>
                  <a:gd name="connsiteY12" fmla="*/ 276640 h 299942"/>
                  <a:gd name="connsiteX13" fmla="*/ 81 w 362254"/>
                  <a:gd name="connsiteY13" fmla="*/ 45272 h 2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2254" h="299942">
                    <a:moveTo>
                      <a:pt x="81" y="45272"/>
                    </a:moveTo>
                    <a:cubicBezTo>
                      <a:pt x="81" y="20269"/>
                      <a:pt x="20349" y="0"/>
                      <a:pt x="45352" y="0"/>
                    </a:cubicBezTo>
                    <a:lnTo>
                      <a:pt x="124950" y="0"/>
                    </a:lnTo>
                    <a:cubicBezTo>
                      <a:pt x="135520" y="3"/>
                      <a:pt x="145756" y="3704"/>
                      <a:pt x="153884" y="10463"/>
                    </a:cubicBezTo>
                    <a:lnTo>
                      <a:pt x="201791" y="50302"/>
                    </a:lnTo>
                    <a:lnTo>
                      <a:pt x="316982" y="50302"/>
                    </a:lnTo>
                    <a:cubicBezTo>
                      <a:pt x="341984" y="50302"/>
                      <a:pt x="362254" y="70571"/>
                      <a:pt x="362254" y="95574"/>
                    </a:cubicBezTo>
                    <a:lnTo>
                      <a:pt x="362254" y="110704"/>
                    </a:lnTo>
                    <a:lnTo>
                      <a:pt x="89055" y="110704"/>
                    </a:lnTo>
                    <a:cubicBezTo>
                      <a:pt x="68275" y="110704"/>
                      <a:pt x="50164" y="124849"/>
                      <a:pt x="45131" y="145010"/>
                    </a:cubicBezTo>
                    <a:lnTo>
                      <a:pt x="6439" y="299940"/>
                    </a:lnTo>
                    <a:cubicBezTo>
                      <a:pt x="7304" y="296499"/>
                      <a:pt x="6439" y="300041"/>
                      <a:pt x="6439" y="299940"/>
                    </a:cubicBezTo>
                    <a:cubicBezTo>
                      <a:pt x="2211" y="292904"/>
                      <a:pt x="-15" y="284847"/>
                      <a:pt x="0" y="276640"/>
                    </a:cubicBezTo>
                    <a:lnTo>
                      <a:pt x="81" y="452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87" name="Freeform 25">
                <a:extLst>
                  <a:ext uri="{FF2B5EF4-FFF2-40B4-BE49-F238E27FC236}">
                    <a16:creationId xmlns:a16="http://schemas.microsoft.com/office/drawing/2014/main" id="{2F2C06ED-BFFD-DF46-FBA4-2A7261B82D68}"/>
                  </a:ext>
                </a:extLst>
              </p:cNvPr>
              <p:cNvSpPr/>
              <p:nvPr/>
            </p:nvSpPr>
            <p:spPr>
              <a:xfrm>
                <a:off x="4982529" y="3724501"/>
                <a:ext cx="549129" cy="275234"/>
              </a:xfrm>
              <a:custGeom>
                <a:avLst/>
                <a:gdLst>
                  <a:gd name="connsiteX0" fmla="*/ 301 w 366523"/>
                  <a:gd name="connsiteY0" fmla="*/ 168552 h 181046"/>
                  <a:gd name="connsiteX1" fmla="*/ 7628 w 366523"/>
                  <a:gd name="connsiteY1" fmla="*/ 180747 h 181046"/>
                  <a:gd name="connsiteX2" fmla="*/ 10060 w 366523"/>
                  <a:gd name="connsiteY2" fmla="*/ 181047 h 181046"/>
                  <a:gd name="connsiteX3" fmla="*/ 296579 w 366523"/>
                  <a:gd name="connsiteY3" fmla="*/ 181047 h 181046"/>
                  <a:gd name="connsiteX4" fmla="*/ 330745 w 366523"/>
                  <a:gd name="connsiteY4" fmla="*/ 154366 h 181046"/>
                  <a:gd name="connsiteX5" fmla="*/ 366217 w 366523"/>
                  <a:gd name="connsiteY5" fmla="*/ 12515 h 181046"/>
                  <a:gd name="connsiteX6" fmla="*/ 358916 w 366523"/>
                  <a:gd name="connsiteY6" fmla="*/ 304 h 181046"/>
                  <a:gd name="connsiteX7" fmla="*/ 356459 w 366523"/>
                  <a:gd name="connsiteY7" fmla="*/ 0 h 181046"/>
                  <a:gd name="connsiteX8" fmla="*/ 54165 w 366523"/>
                  <a:gd name="connsiteY8" fmla="*/ 0 h 181046"/>
                  <a:gd name="connsiteX9" fmla="*/ 39517 w 366523"/>
                  <a:gd name="connsiteY9" fmla="*/ 11429 h 181046"/>
                  <a:gd name="connsiteX10" fmla="*/ 301 w 366523"/>
                  <a:gd name="connsiteY10" fmla="*/ 168572 h 181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6523" h="181046">
                    <a:moveTo>
                      <a:pt x="301" y="168552"/>
                    </a:moveTo>
                    <a:cubicBezTo>
                      <a:pt x="-1043" y="173942"/>
                      <a:pt x="2237" y="179403"/>
                      <a:pt x="7628" y="180747"/>
                    </a:cubicBezTo>
                    <a:cubicBezTo>
                      <a:pt x="8424" y="180946"/>
                      <a:pt x="9240" y="181047"/>
                      <a:pt x="10060" y="181047"/>
                    </a:cubicBezTo>
                    <a:lnTo>
                      <a:pt x="296579" y="181047"/>
                    </a:lnTo>
                    <a:cubicBezTo>
                      <a:pt x="312740" y="181049"/>
                      <a:pt x="326829" y="170047"/>
                      <a:pt x="330745" y="154366"/>
                    </a:cubicBezTo>
                    <a:lnTo>
                      <a:pt x="366217" y="12515"/>
                    </a:lnTo>
                    <a:cubicBezTo>
                      <a:pt x="367574" y="7127"/>
                      <a:pt x="364304" y="1660"/>
                      <a:pt x="358916" y="304"/>
                    </a:cubicBezTo>
                    <a:cubicBezTo>
                      <a:pt x="358113" y="103"/>
                      <a:pt x="357288" y="0"/>
                      <a:pt x="356459" y="0"/>
                    </a:cubicBezTo>
                    <a:lnTo>
                      <a:pt x="54165" y="0"/>
                    </a:lnTo>
                    <a:cubicBezTo>
                      <a:pt x="47238" y="-4"/>
                      <a:pt x="41198" y="4708"/>
                      <a:pt x="39517" y="11429"/>
                    </a:cubicBezTo>
                    <a:lnTo>
                      <a:pt x="301" y="168572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36" name="Text Placeholder 112">
            <a:extLst>
              <a:ext uri="{FF2B5EF4-FFF2-40B4-BE49-F238E27FC236}">
                <a16:creationId xmlns:a16="http://schemas.microsoft.com/office/drawing/2014/main" id="{4725F9DC-5D36-29DE-3632-CD50C093A55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91996" y="4046040"/>
            <a:ext cx="622769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37" name="Text Placeholder 112">
            <a:extLst>
              <a:ext uri="{FF2B5EF4-FFF2-40B4-BE49-F238E27FC236}">
                <a16:creationId xmlns:a16="http://schemas.microsoft.com/office/drawing/2014/main" id="{FFC6AA1C-1FED-A192-EF41-4A10F65B9D7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58129" y="4046040"/>
            <a:ext cx="444772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pic>
        <p:nvPicPr>
          <p:cNvPr id="79" name="Picture 78" descr="OneLake logo">
            <a:extLst>
              <a:ext uri="{FF2B5EF4-FFF2-40B4-BE49-F238E27FC236}">
                <a16:creationId xmlns:a16="http://schemas.microsoft.com/office/drawing/2014/main" id="{CB812FCE-A763-C647-C381-0638E3B4F9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916" r="-7916"/>
          <a:stretch/>
        </p:blipFill>
        <p:spPr>
          <a:xfrm>
            <a:off x="7974696" y="3796313"/>
            <a:ext cx="343941" cy="29668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5" name="Text Placeholder 112">
            <a:extLst>
              <a:ext uri="{FF2B5EF4-FFF2-40B4-BE49-F238E27FC236}">
                <a16:creationId xmlns:a16="http://schemas.microsoft.com/office/drawing/2014/main" id="{6642D4FF-FBF8-B7D4-92CF-D9E2D68F0C1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28164" y="4134966"/>
            <a:ext cx="1637005" cy="270769"/>
          </a:xfrm>
          <a:noFill/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1100" b="0" i="0" u="none" strike="noStrike" kern="1200" cap="none" spc="0" normalizeH="0" baseline="0" dirty="0" smtClean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38" name="Text Placeholder 112">
            <a:extLst>
              <a:ext uri="{FF2B5EF4-FFF2-40B4-BE49-F238E27FC236}">
                <a16:creationId xmlns:a16="http://schemas.microsoft.com/office/drawing/2014/main" id="{0EF565E8-77BD-E4B4-A079-3529CE64F58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28275" y="4046040"/>
            <a:ext cx="623416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39" name="Text Placeholder 112">
            <a:extLst>
              <a:ext uri="{FF2B5EF4-FFF2-40B4-BE49-F238E27FC236}">
                <a16:creationId xmlns:a16="http://schemas.microsoft.com/office/drawing/2014/main" id="{16B91F3E-319B-3E3F-0BA0-377E937CFE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766778" y="4046040"/>
            <a:ext cx="558491" cy="297990"/>
          </a:xfr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A52C08A-F7EC-57A8-C498-1D8635A9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379593" y="2472582"/>
            <a:ext cx="785053" cy="351350"/>
            <a:chOff x="5379593" y="2472582"/>
            <a:chExt cx="785053" cy="351350"/>
          </a:xfrm>
        </p:grpSpPr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DB864447-7227-5D10-1E54-2F1A96ECDD72}"/>
                </a:ext>
              </a:extLst>
            </p:cNvPr>
            <p:cNvCxnSpPr>
              <a:cxnSpLocks/>
              <a:stCxn id="36" idx="2"/>
              <a:endCxn id="31" idx="0"/>
            </p:cNvCxnSpPr>
            <p:nvPr/>
          </p:nvCxnSpPr>
          <p:spPr>
            <a:xfrm rot="5400000">
              <a:off x="5613610" y="2238566"/>
              <a:ext cx="317019" cy="78505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F9AEF194-DA3F-DB01-63A7-2F63787A4AC3}"/>
                </a:ext>
              </a:extLst>
            </p:cNvPr>
            <p:cNvCxnSpPr>
              <a:cxnSpLocks/>
            </p:cNvCxnSpPr>
            <p:nvPr/>
          </p:nvCxnSpPr>
          <p:spPr>
            <a:xfrm>
              <a:off x="5379593" y="2472583"/>
              <a:ext cx="0" cy="351349"/>
            </a:xfrm>
            <a:prstGeom prst="straightConnector1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EEA402AD-D870-253B-932A-68A46E6AD2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8" idx="2"/>
            <a:endCxn id="28" idx="0"/>
          </p:cNvCxnSpPr>
          <p:nvPr userDrawn="1"/>
        </p:nvCxnSpPr>
        <p:spPr>
          <a:xfrm rot="5400000">
            <a:off x="7242972" y="1910128"/>
            <a:ext cx="317019" cy="1441929"/>
          </a:xfrm>
          <a:prstGeom prst="bentConnector3">
            <a:avLst>
              <a:gd name="adj1" fmla="val 50000"/>
            </a:avLst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80AEF0D5-A998-EC2F-3C93-9767E5DC9B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9" idx="2"/>
            <a:endCxn id="30" idx="0"/>
          </p:cNvCxnSpPr>
          <p:nvPr userDrawn="1"/>
        </p:nvCxnSpPr>
        <p:spPr>
          <a:xfrm rot="16200000" flipH="1">
            <a:off x="9200772" y="2373155"/>
            <a:ext cx="317019" cy="515873"/>
          </a:xfrm>
          <a:prstGeom prst="bentConnector3">
            <a:avLst>
              <a:gd name="adj1" fmla="val 50000"/>
            </a:avLst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7341711F-B772-6B35-0EC6-C05F0F8F0F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0" idx="2"/>
            <a:endCxn id="29" idx="0"/>
          </p:cNvCxnSpPr>
          <p:nvPr userDrawn="1"/>
        </p:nvCxnSpPr>
        <p:spPr>
          <a:xfrm rot="16200000" flipH="1">
            <a:off x="10424520" y="2128308"/>
            <a:ext cx="317019" cy="1005568"/>
          </a:xfrm>
          <a:prstGeom prst="bentConnector3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8B97F256-8A9A-50D4-9248-A30A399FC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1" idx="4"/>
          </p:cNvCxnSpPr>
          <p:nvPr userDrawn="1"/>
        </p:nvCxnSpPr>
        <p:spPr>
          <a:xfrm>
            <a:off x="5379593" y="3342103"/>
            <a:ext cx="0" cy="333756"/>
          </a:xfrm>
          <a:prstGeom prst="straightConnector1">
            <a:avLst/>
          </a:prstGeom>
          <a:ln w="12700">
            <a:solidFill>
              <a:schemeClr val="bg2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59BC1EE-C502-B0A1-3125-38B965A32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8" idx="4"/>
          </p:cNvCxnSpPr>
          <p:nvPr userDrawn="1"/>
        </p:nvCxnSpPr>
        <p:spPr>
          <a:xfrm>
            <a:off x="6680516" y="3342103"/>
            <a:ext cx="0" cy="332794"/>
          </a:xfrm>
          <a:prstGeom prst="straightConnector1">
            <a:avLst/>
          </a:prstGeom>
          <a:ln w="12700">
            <a:solidFill>
              <a:schemeClr val="bg2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29DBCED-69F8-4005-20E2-B8923DC0A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0" idx="4"/>
          </p:cNvCxnSpPr>
          <p:nvPr userDrawn="1"/>
        </p:nvCxnSpPr>
        <p:spPr>
          <a:xfrm>
            <a:off x="9617218" y="3342103"/>
            <a:ext cx="0" cy="291350"/>
          </a:xfrm>
          <a:prstGeom prst="straightConnector1">
            <a:avLst/>
          </a:prstGeom>
          <a:ln w="12700">
            <a:solidFill>
              <a:schemeClr val="bg2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F5D0F8C9-A0AF-4545-B229-D70BABF57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9" idx="4"/>
          </p:cNvCxnSpPr>
          <p:nvPr userDrawn="1"/>
        </p:nvCxnSpPr>
        <p:spPr>
          <a:xfrm>
            <a:off x="11085813" y="3342103"/>
            <a:ext cx="1" cy="342030"/>
          </a:xfrm>
          <a:prstGeom prst="straightConnector1">
            <a:avLst/>
          </a:prstGeom>
          <a:ln w="12700">
            <a:solidFill>
              <a:schemeClr val="bg2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 descr="Arrow pointing upwards">
            <a:extLst>
              <a:ext uri="{FF2B5EF4-FFF2-40B4-BE49-F238E27FC236}">
                <a16:creationId xmlns:a16="http://schemas.microsoft.com/office/drawing/2014/main" id="{83405A35-DB1F-059E-EEAB-4FA8F6616308}"/>
              </a:ext>
            </a:extLst>
          </p:cNvPr>
          <p:cNvCxnSpPr>
            <a:stCxn id="97" idx="0"/>
            <a:endCxn id="34" idx="2"/>
          </p:cNvCxnSpPr>
          <p:nvPr userDrawn="1"/>
        </p:nvCxnSpPr>
        <p:spPr>
          <a:xfrm flipV="1">
            <a:off x="8122444" y="4441521"/>
            <a:ext cx="1" cy="432395"/>
          </a:xfrm>
          <a:prstGeom prst="straightConnector1">
            <a:avLst/>
          </a:prstGeom>
          <a:ln w="1905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ounded Rectangle 6">
            <a:extLst>
              <a:ext uri="{FF2B5EF4-FFF2-40B4-BE49-F238E27FC236}">
                <a16:creationId xmlns:a16="http://schemas.microsoft.com/office/drawing/2014/main" id="{33A540CB-3A8D-3EEC-6A61-2C2F0C26E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35500" y="4873916"/>
            <a:ext cx="1337251" cy="621026"/>
          </a:xfrm>
          <a:prstGeom prst="roundRect">
            <a:avLst>
              <a:gd name="adj" fmla="val 7700"/>
            </a:avLst>
          </a:prstGeom>
          <a:noFill/>
          <a:ln w="6350">
            <a:solidFill>
              <a:schemeClr val="tx1"/>
            </a:solidFill>
            <a:prstDash val="lgDash"/>
            <a:headEnd type="none" w="med" len="med"/>
            <a:tailEnd type="none" w="med" len="med"/>
          </a:ln>
          <a:effectLst>
            <a:outerShdw blurRad="127000" dist="38100" dir="2700000" algn="tl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25B6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210EEDA1-A1F8-52C6-B2A5-8E3C225E0C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168764" y="4954894"/>
            <a:ext cx="270726" cy="254800"/>
          </a:xfrm>
          <a:prstGeom prst="rect">
            <a:avLst/>
          </a:prstGeom>
        </p:spPr>
      </p:pic>
      <p:sp>
        <p:nvSpPr>
          <p:cNvPr id="93" name="Rounded Rectangle 6">
            <a:extLst>
              <a:ext uri="{FF2B5EF4-FFF2-40B4-BE49-F238E27FC236}">
                <a16:creationId xmlns:a16="http://schemas.microsoft.com/office/drawing/2014/main" id="{7F923FEF-48EA-7121-10B0-F44856545F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125948" y="4873916"/>
            <a:ext cx="1212823" cy="621026"/>
          </a:xfrm>
          <a:prstGeom prst="roundRect">
            <a:avLst>
              <a:gd name="adj" fmla="val 7700"/>
            </a:avLst>
          </a:prstGeom>
          <a:noFill/>
          <a:ln w="6350">
            <a:solidFill>
              <a:schemeClr val="tx1"/>
            </a:solidFill>
            <a:prstDash val="lgDash"/>
            <a:headEnd type="none" w="med" len="med"/>
            <a:tailEnd type="none" w="med" len="med"/>
          </a:ln>
          <a:effectLst>
            <a:outerShdw blurRad="127000" dist="38100" dir="2700000" algn="tl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25B6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7F350604-F502-2B61-51E6-E3AB1ACA87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70266" y="4956173"/>
            <a:ext cx="246952" cy="252243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BD1444B6-C726-8010-CD80-61268DE74F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60655" y="4956173"/>
            <a:ext cx="246952" cy="252243"/>
          </a:xfrm>
          <a:prstGeom prst="rect">
            <a:avLst/>
          </a:prstGeom>
        </p:spPr>
      </p:pic>
      <p:sp>
        <p:nvSpPr>
          <p:cNvPr id="97" name="Rounded Rectangle 6">
            <a:extLst>
              <a:ext uri="{FF2B5EF4-FFF2-40B4-BE49-F238E27FC236}">
                <a16:creationId xmlns:a16="http://schemas.microsoft.com/office/drawing/2014/main" id="{B616A316-D6B7-9AA9-EC26-766F29F99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516032" y="4873916"/>
            <a:ext cx="1212823" cy="621026"/>
          </a:xfrm>
          <a:prstGeom prst="roundRect">
            <a:avLst>
              <a:gd name="adj" fmla="val 7700"/>
            </a:avLst>
          </a:prstGeom>
          <a:noFill/>
          <a:ln w="6350">
            <a:solidFill>
              <a:schemeClr val="tx1"/>
            </a:solidFill>
            <a:prstDash val="lgDash"/>
            <a:headEnd type="none" w="med" len="med"/>
            <a:tailEnd type="none" w="med" len="med"/>
          </a:ln>
          <a:effectLst>
            <a:outerShdw blurRad="127000" dist="38100" dir="2700000" algn="tl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25B6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8735629D-461F-DE92-F0FD-BDEDDB427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84484" y="4944502"/>
            <a:ext cx="214869" cy="275584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7331030F-755A-BA53-22DB-5C8D5009BF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56669" y="4944502"/>
            <a:ext cx="214869" cy="275584"/>
          </a:xfrm>
          <a:prstGeom prst="rect">
            <a:avLst/>
          </a:prstGeom>
        </p:spPr>
      </p:pic>
      <p:sp>
        <p:nvSpPr>
          <p:cNvPr id="101" name="Rounded Rectangle 6">
            <a:extLst>
              <a:ext uri="{FF2B5EF4-FFF2-40B4-BE49-F238E27FC236}">
                <a16:creationId xmlns:a16="http://schemas.microsoft.com/office/drawing/2014/main" id="{9ECDF014-AD01-3D0F-3798-D89A8E82C4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8905333" y="4873916"/>
            <a:ext cx="2704053" cy="621026"/>
          </a:xfrm>
          <a:prstGeom prst="roundRect">
            <a:avLst>
              <a:gd name="adj" fmla="val 7700"/>
            </a:avLst>
          </a:prstGeom>
          <a:noFill/>
          <a:ln w="6350">
            <a:solidFill>
              <a:schemeClr val="tx1"/>
            </a:solidFill>
            <a:prstDash val="lgDash"/>
            <a:headEnd type="none" w="med" len="med"/>
            <a:tailEnd type="none" w="med" len="med"/>
          </a:ln>
          <a:effectLst>
            <a:outerShdw blurRad="127000" dist="38100" dir="2700000" algn="tl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25B6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DE58FB12-D761-8C15-46BA-93C476BA5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9061163" y="4948475"/>
            <a:ext cx="229968" cy="267639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C26E8C68-E969-34D2-C7FB-BEAAE6547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9494365" y="4948475"/>
            <a:ext cx="229968" cy="267639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B6D7B5A6-2793-2AF6-1D48-6635FD27E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9927567" y="4948475"/>
            <a:ext cx="229968" cy="267639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49DCDF43-5058-332E-989F-10CF5E0BC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10360769" y="4948475"/>
            <a:ext cx="229968" cy="267639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1D3BE649-D697-A3F6-D5FC-E6C51376E6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10793971" y="4948475"/>
            <a:ext cx="229968" cy="267639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D1AB81BE-EAF4-6B56-AF7A-3981885CA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rcRect/>
          <a:stretch/>
        </p:blipFill>
        <p:spPr>
          <a:xfrm>
            <a:off x="11227172" y="4948475"/>
            <a:ext cx="229968" cy="267639"/>
          </a:xfrm>
          <a:prstGeom prst="rect">
            <a:avLst/>
          </a:prstGeom>
        </p:spPr>
      </p:pic>
      <p:sp>
        <p:nvSpPr>
          <p:cNvPr id="140" name="Text Placeholder 112">
            <a:extLst>
              <a:ext uri="{FF2B5EF4-FFF2-40B4-BE49-F238E27FC236}">
                <a16:creationId xmlns:a16="http://schemas.microsoft.com/office/drawing/2014/main" id="{AE079E75-C0FF-3222-B485-71B00C2CF53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846974" y="5252611"/>
            <a:ext cx="904201" cy="193807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41" name="Text Placeholder 112">
            <a:extLst>
              <a:ext uri="{FF2B5EF4-FFF2-40B4-BE49-F238E27FC236}">
                <a16:creationId xmlns:a16="http://schemas.microsoft.com/office/drawing/2014/main" id="{D64C73F9-ED67-393F-1418-250075EFDD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66760" y="5252611"/>
            <a:ext cx="904201" cy="193807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42" name="Text Placeholder 112">
            <a:extLst>
              <a:ext uri="{FF2B5EF4-FFF2-40B4-BE49-F238E27FC236}">
                <a16:creationId xmlns:a16="http://schemas.microsoft.com/office/drawing/2014/main" id="{82BA3AE2-6DF5-3B7F-A0CD-0786F459940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694565" y="5252611"/>
            <a:ext cx="904201" cy="193807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43" name="Text Placeholder 112">
            <a:extLst>
              <a:ext uri="{FF2B5EF4-FFF2-40B4-BE49-F238E27FC236}">
                <a16:creationId xmlns:a16="http://schemas.microsoft.com/office/drawing/2014/main" id="{C9163B31-A52E-CF75-8240-66347516DE0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805259" y="5252611"/>
            <a:ext cx="904201" cy="193807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0"/>
              </a:spcBef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115" name="Text Placeholder 112">
            <a:extLst>
              <a:ext uri="{FF2B5EF4-FFF2-40B4-BE49-F238E27FC236}">
                <a16:creationId xmlns:a16="http://schemas.microsoft.com/office/drawing/2014/main" id="{5B0F7667-A366-5F98-BE77-68F6A0A194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7123" y="5667101"/>
            <a:ext cx="2810641" cy="240053"/>
          </a:xfrm>
        </p:spPr>
        <p:txBody>
          <a:bodyPr lIns="0" tIns="0" rIns="0" bIns="0">
            <a:noAutofit/>
          </a:bodyPr>
          <a:lstStyle>
            <a:lvl1pPr algn="ctr"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2" name="Text Placeholder 112">
            <a:extLst>
              <a:ext uri="{FF2B5EF4-FFF2-40B4-BE49-F238E27FC236}">
                <a16:creationId xmlns:a16="http://schemas.microsoft.com/office/drawing/2014/main" id="{54376F60-D3AD-FCD7-51A7-587EC5A0B10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82990" y="5922713"/>
            <a:ext cx="3878907" cy="569645"/>
          </a:xfrm>
        </p:spPr>
        <p:txBody>
          <a:bodyPr lIns="0" tIns="0" rIns="0" bIns="0">
            <a:noAutofit/>
          </a:bodyPr>
          <a:lstStyle>
            <a:lvl1pPr algn="ctr"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233329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44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96EAEB1-715D-AF8F-10FB-F3D16AC485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913BA90D-EA3B-29E8-A239-C61ACB3DE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2118BF19-0035-C321-183A-836CC8060775}"/>
              </a:ext>
            </a:extLst>
          </p:cNvPr>
          <p:cNvSpPr/>
          <p:nvPr userDrawn="1"/>
        </p:nvSpPr>
        <p:spPr>
          <a:xfrm>
            <a:off x="529053" y="2663856"/>
            <a:ext cx="3414297" cy="1504926"/>
          </a:xfrm>
          <a:custGeom>
            <a:avLst/>
            <a:gdLst>
              <a:gd name="connsiteX0" fmla="*/ 542449 w 3308032"/>
              <a:gd name="connsiteY0" fmla="*/ 193453 h 1458087"/>
              <a:gd name="connsiteX1" fmla="*/ 543401 w 3308032"/>
              <a:gd name="connsiteY1" fmla="*/ 148971 h 1458087"/>
              <a:gd name="connsiteX2" fmla="*/ 541211 w 3308032"/>
              <a:gd name="connsiteY2" fmla="*/ 148971 h 1458087"/>
              <a:gd name="connsiteX3" fmla="*/ 534924 w 3308032"/>
              <a:gd name="connsiteY3" fmla="*/ 168497 h 1458087"/>
              <a:gd name="connsiteX4" fmla="*/ 528257 w 3308032"/>
              <a:gd name="connsiteY4" fmla="*/ 186214 h 1458087"/>
              <a:gd name="connsiteX5" fmla="*/ 374618 w 3308032"/>
              <a:gd name="connsiteY5" fmla="*/ 572834 h 1458087"/>
              <a:gd name="connsiteX6" fmla="*/ 310229 w 3308032"/>
              <a:gd name="connsiteY6" fmla="*/ 572834 h 1458087"/>
              <a:gd name="connsiteX7" fmla="*/ 155448 w 3308032"/>
              <a:gd name="connsiteY7" fmla="*/ 189643 h 1458087"/>
              <a:gd name="connsiteX8" fmla="*/ 149352 w 3308032"/>
              <a:gd name="connsiteY8" fmla="*/ 172307 h 1458087"/>
              <a:gd name="connsiteX9" fmla="*/ 141351 w 3308032"/>
              <a:gd name="connsiteY9" fmla="*/ 149066 h 1458087"/>
              <a:gd name="connsiteX10" fmla="*/ 139160 w 3308032"/>
              <a:gd name="connsiteY10" fmla="*/ 149066 h 1458087"/>
              <a:gd name="connsiteX11" fmla="*/ 140303 w 3308032"/>
              <a:gd name="connsiteY11" fmla="*/ 195739 h 1458087"/>
              <a:gd name="connsiteX12" fmla="*/ 140684 w 3308032"/>
              <a:gd name="connsiteY12" fmla="*/ 246507 h 1458087"/>
              <a:gd name="connsiteX13" fmla="*/ 140684 w 3308032"/>
              <a:gd name="connsiteY13" fmla="*/ 572834 h 1458087"/>
              <a:gd name="connsiteX14" fmla="*/ 55817 w 3308032"/>
              <a:gd name="connsiteY14" fmla="*/ 572834 h 1458087"/>
              <a:gd name="connsiteX15" fmla="*/ 55817 w 3308032"/>
              <a:gd name="connsiteY15" fmla="*/ 39243 h 1458087"/>
              <a:gd name="connsiteX16" fmla="*/ 185642 w 3308032"/>
              <a:gd name="connsiteY16" fmla="*/ 39243 h 1458087"/>
              <a:gd name="connsiteX17" fmla="*/ 322231 w 3308032"/>
              <a:gd name="connsiteY17" fmla="*/ 383381 h 1458087"/>
              <a:gd name="connsiteX18" fmla="*/ 334709 w 3308032"/>
              <a:gd name="connsiteY18" fmla="*/ 415576 h 1458087"/>
              <a:gd name="connsiteX19" fmla="*/ 343853 w 3308032"/>
              <a:gd name="connsiteY19" fmla="*/ 444817 h 1458087"/>
              <a:gd name="connsiteX20" fmla="*/ 346043 w 3308032"/>
              <a:gd name="connsiteY20" fmla="*/ 444817 h 1458087"/>
              <a:gd name="connsiteX21" fmla="*/ 358140 w 3308032"/>
              <a:gd name="connsiteY21" fmla="*/ 412433 h 1458087"/>
              <a:gd name="connsiteX22" fmla="*/ 369475 w 3308032"/>
              <a:gd name="connsiteY22" fmla="*/ 382334 h 1458087"/>
              <a:gd name="connsiteX23" fmla="*/ 507873 w 3308032"/>
              <a:gd name="connsiteY23" fmla="*/ 39243 h 1458087"/>
              <a:gd name="connsiteX24" fmla="*/ 632555 w 3308032"/>
              <a:gd name="connsiteY24" fmla="*/ 39243 h 1458087"/>
              <a:gd name="connsiteX25" fmla="*/ 632555 w 3308032"/>
              <a:gd name="connsiteY25" fmla="*/ 572834 h 1458087"/>
              <a:gd name="connsiteX26" fmla="*/ 542163 w 3308032"/>
              <a:gd name="connsiteY26" fmla="*/ 572834 h 1458087"/>
              <a:gd name="connsiteX27" fmla="*/ 542163 w 3308032"/>
              <a:gd name="connsiteY27" fmla="*/ 234220 h 1458087"/>
              <a:gd name="connsiteX28" fmla="*/ 542735 w 3308032"/>
              <a:gd name="connsiteY28" fmla="*/ 193453 h 1458087"/>
              <a:gd name="connsiteX29" fmla="*/ 768001 w 3308032"/>
              <a:gd name="connsiteY29" fmla="*/ 14383 h 1458087"/>
              <a:gd name="connsiteX30" fmla="*/ 728567 w 3308032"/>
              <a:gd name="connsiteY30" fmla="*/ 29623 h 1458087"/>
              <a:gd name="connsiteX31" fmla="*/ 713327 w 3308032"/>
              <a:gd name="connsiteY31" fmla="*/ 67247 h 1458087"/>
              <a:gd name="connsiteX32" fmla="*/ 728567 w 3308032"/>
              <a:gd name="connsiteY32" fmla="*/ 104966 h 1458087"/>
              <a:gd name="connsiteX33" fmla="*/ 768001 w 3308032"/>
              <a:gd name="connsiteY33" fmla="*/ 120777 h 1458087"/>
              <a:gd name="connsiteX34" fmla="*/ 808196 w 3308032"/>
              <a:gd name="connsiteY34" fmla="*/ 105537 h 1458087"/>
              <a:gd name="connsiteX35" fmla="*/ 823436 w 3308032"/>
              <a:gd name="connsiteY35" fmla="*/ 67627 h 1458087"/>
              <a:gd name="connsiteX36" fmla="*/ 808196 w 3308032"/>
              <a:gd name="connsiteY36" fmla="*/ 29718 h 1458087"/>
              <a:gd name="connsiteX37" fmla="*/ 768001 w 3308032"/>
              <a:gd name="connsiteY37" fmla="*/ 14478 h 1458087"/>
              <a:gd name="connsiteX38" fmla="*/ 723329 w 3308032"/>
              <a:gd name="connsiteY38" fmla="*/ 572834 h 1458087"/>
              <a:gd name="connsiteX39" fmla="*/ 812292 w 3308032"/>
              <a:gd name="connsiteY39" fmla="*/ 572834 h 1458087"/>
              <a:gd name="connsiteX40" fmla="*/ 812292 w 3308032"/>
              <a:gd name="connsiteY40" fmla="*/ 191834 h 1458087"/>
              <a:gd name="connsiteX41" fmla="*/ 723329 w 3308032"/>
              <a:gd name="connsiteY41" fmla="*/ 191834 h 1458087"/>
              <a:gd name="connsiteX42" fmla="*/ 723329 w 3308032"/>
              <a:gd name="connsiteY42" fmla="*/ 572834 h 1458087"/>
              <a:gd name="connsiteX43" fmla="*/ 1079278 w 3308032"/>
              <a:gd name="connsiteY43" fmla="*/ 581787 h 1458087"/>
              <a:gd name="connsiteX44" fmla="*/ 1169099 w 3308032"/>
              <a:gd name="connsiteY44" fmla="*/ 561689 h 1458087"/>
              <a:gd name="connsiteX45" fmla="*/ 1234726 w 3308032"/>
              <a:gd name="connsiteY45" fmla="*/ 500253 h 1458087"/>
              <a:gd name="connsiteX46" fmla="*/ 1165860 w 3308032"/>
              <a:gd name="connsiteY46" fmla="*/ 461582 h 1458087"/>
              <a:gd name="connsiteX47" fmla="*/ 1127951 w 3308032"/>
              <a:gd name="connsiteY47" fmla="*/ 497110 h 1458087"/>
              <a:gd name="connsiteX48" fmla="*/ 1081469 w 3308032"/>
              <a:gd name="connsiteY48" fmla="*/ 507683 h 1458087"/>
              <a:gd name="connsiteX49" fmla="*/ 1004126 w 3308032"/>
              <a:gd name="connsiteY49" fmla="*/ 475298 h 1458087"/>
              <a:gd name="connsiteX50" fmla="*/ 975074 w 3308032"/>
              <a:gd name="connsiteY50" fmla="*/ 383000 h 1458087"/>
              <a:gd name="connsiteX51" fmla="*/ 1004506 w 3308032"/>
              <a:gd name="connsiteY51" fmla="*/ 288512 h 1458087"/>
              <a:gd name="connsiteX52" fmla="*/ 1079278 w 3308032"/>
              <a:gd name="connsiteY52" fmla="*/ 254699 h 1458087"/>
              <a:gd name="connsiteX53" fmla="*/ 1125379 w 3308032"/>
              <a:gd name="connsiteY53" fmla="*/ 265462 h 1458087"/>
              <a:gd name="connsiteX54" fmla="*/ 1162622 w 3308032"/>
              <a:gd name="connsiteY54" fmla="*/ 301943 h 1458087"/>
              <a:gd name="connsiteX55" fmla="*/ 1232535 w 3308032"/>
              <a:gd name="connsiteY55" fmla="*/ 267367 h 1458087"/>
              <a:gd name="connsiteX56" fmla="*/ 1172432 w 3308032"/>
              <a:gd name="connsiteY56" fmla="*/ 204311 h 1458087"/>
              <a:gd name="connsiteX57" fmla="*/ 1082231 w 3308032"/>
              <a:gd name="connsiteY57" fmla="*/ 182880 h 1458087"/>
              <a:gd name="connsiteX58" fmla="*/ 939356 w 3308032"/>
              <a:gd name="connsiteY58" fmla="*/ 238125 h 1458087"/>
              <a:gd name="connsiteX59" fmla="*/ 884301 w 3308032"/>
              <a:gd name="connsiteY59" fmla="*/ 389001 h 1458087"/>
              <a:gd name="connsiteX60" fmla="*/ 936022 w 3308032"/>
              <a:gd name="connsiteY60" fmla="*/ 528923 h 1458087"/>
              <a:gd name="connsiteX61" fmla="*/ 1079278 w 3308032"/>
              <a:gd name="connsiteY61" fmla="*/ 581787 h 1458087"/>
              <a:gd name="connsiteX62" fmla="*/ 1393031 w 3308032"/>
              <a:gd name="connsiteY62" fmla="*/ 384524 h 1458087"/>
              <a:gd name="connsiteX63" fmla="*/ 1416653 w 3308032"/>
              <a:gd name="connsiteY63" fmla="*/ 296323 h 1458087"/>
              <a:gd name="connsiteX64" fmla="*/ 1478566 w 3308032"/>
              <a:gd name="connsiteY64" fmla="*/ 262795 h 1458087"/>
              <a:gd name="connsiteX65" fmla="*/ 1501807 w 3308032"/>
              <a:gd name="connsiteY65" fmla="*/ 265176 h 1458087"/>
              <a:gd name="connsiteX66" fmla="*/ 1523619 w 3308032"/>
              <a:gd name="connsiteY66" fmla="*/ 271653 h 1458087"/>
              <a:gd name="connsiteX67" fmla="*/ 1547432 w 3308032"/>
              <a:gd name="connsiteY67" fmla="*/ 195739 h 1458087"/>
              <a:gd name="connsiteX68" fmla="*/ 1521047 w 3308032"/>
              <a:gd name="connsiteY68" fmla="*/ 187166 h 1458087"/>
              <a:gd name="connsiteX69" fmla="*/ 1494282 w 3308032"/>
              <a:gd name="connsiteY69" fmla="*/ 184975 h 1458087"/>
              <a:gd name="connsiteX70" fmla="*/ 1433989 w 3308032"/>
              <a:gd name="connsiteY70" fmla="*/ 204502 h 1458087"/>
              <a:gd name="connsiteX71" fmla="*/ 1394555 w 3308032"/>
              <a:gd name="connsiteY71" fmla="*/ 260509 h 1458087"/>
              <a:gd name="connsiteX72" fmla="*/ 1393031 w 3308032"/>
              <a:gd name="connsiteY72" fmla="*/ 260509 h 1458087"/>
              <a:gd name="connsiteX73" fmla="*/ 1393031 w 3308032"/>
              <a:gd name="connsiteY73" fmla="*/ 191643 h 1458087"/>
              <a:gd name="connsiteX74" fmla="*/ 1304068 w 3308032"/>
              <a:gd name="connsiteY74" fmla="*/ 191643 h 1458087"/>
              <a:gd name="connsiteX75" fmla="*/ 1304068 w 3308032"/>
              <a:gd name="connsiteY75" fmla="*/ 572643 h 1458087"/>
              <a:gd name="connsiteX76" fmla="*/ 1393031 w 3308032"/>
              <a:gd name="connsiteY76" fmla="*/ 572643 h 1458087"/>
              <a:gd name="connsiteX77" fmla="*/ 1393031 w 3308032"/>
              <a:gd name="connsiteY77" fmla="*/ 384334 h 1458087"/>
              <a:gd name="connsiteX78" fmla="*/ 1621917 w 3308032"/>
              <a:gd name="connsiteY78" fmla="*/ 528542 h 1458087"/>
              <a:gd name="connsiteX79" fmla="*/ 1568482 w 3308032"/>
              <a:gd name="connsiteY79" fmla="*/ 385286 h 1458087"/>
              <a:gd name="connsiteX80" fmla="*/ 1625060 w 3308032"/>
              <a:gd name="connsiteY80" fmla="*/ 238506 h 1458087"/>
              <a:gd name="connsiteX81" fmla="*/ 1771269 w 3308032"/>
              <a:gd name="connsiteY81" fmla="*/ 182880 h 1458087"/>
              <a:gd name="connsiteX82" fmla="*/ 1914335 w 3308032"/>
              <a:gd name="connsiteY82" fmla="*/ 237554 h 1458087"/>
              <a:gd name="connsiteX83" fmla="*/ 1966627 w 3308032"/>
              <a:gd name="connsiteY83" fmla="*/ 378905 h 1458087"/>
              <a:gd name="connsiteX84" fmla="*/ 1911572 w 3308032"/>
              <a:gd name="connsiteY84" fmla="*/ 524542 h 1458087"/>
              <a:gd name="connsiteX85" fmla="*/ 1766126 w 3308032"/>
              <a:gd name="connsiteY85" fmla="*/ 581692 h 1458087"/>
              <a:gd name="connsiteX86" fmla="*/ 1621917 w 3308032"/>
              <a:gd name="connsiteY86" fmla="*/ 528447 h 1458087"/>
              <a:gd name="connsiteX87" fmla="*/ 1659350 w 3308032"/>
              <a:gd name="connsiteY87" fmla="*/ 383477 h 1458087"/>
              <a:gd name="connsiteX88" fmla="*/ 1688973 w 3308032"/>
              <a:gd name="connsiteY88" fmla="*/ 476155 h 1458087"/>
              <a:gd name="connsiteX89" fmla="*/ 1769555 w 3308032"/>
              <a:gd name="connsiteY89" fmla="*/ 509969 h 1458087"/>
              <a:gd name="connsiteX90" fmla="*/ 1847850 w 3308032"/>
              <a:gd name="connsiteY90" fmla="*/ 475012 h 1458087"/>
              <a:gd name="connsiteX91" fmla="*/ 1875568 w 3308032"/>
              <a:gd name="connsiteY91" fmla="*/ 381286 h 1458087"/>
              <a:gd name="connsiteX92" fmla="*/ 1847660 w 3308032"/>
              <a:gd name="connsiteY92" fmla="*/ 289750 h 1458087"/>
              <a:gd name="connsiteX93" fmla="*/ 1769174 w 3308032"/>
              <a:gd name="connsiteY93" fmla="*/ 255175 h 1458087"/>
              <a:gd name="connsiteX94" fmla="*/ 1689354 w 3308032"/>
              <a:gd name="connsiteY94" fmla="*/ 290894 h 1458087"/>
              <a:gd name="connsiteX95" fmla="*/ 1659446 w 3308032"/>
              <a:gd name="connsiteY95" fmla="*/ 383572 h 1458087"/>
              <a:gd name="connsiteX96" fmla="*/ 2267426 w 3308032"/>
              <a:gd name="connsiteY96" fmla="*/ 547878 h 1458087"/>
              <a:gd name="connsiteX97" fmla="*/ 2308003 w 3308032"/>
              <a:gd name="connsiteY97" fmla="*/ 458915 h 1458087"/>
              <a:gd name="connsiteX98" fmla="*/ 2276761 w 3308032"/>
              <a:gd name="connsiteY98" fmla="*/ 380048 h 1458087"/>
              <a:gd name="connsiteX99" fmla="*/ 2182273 w 3308032"/>
              <a:gd name="connsiteY99" fmla="*/ 339471 h 1458087"/>
              <a:gd name="connsiteX100" fmla="*/ 2127028 w 3308032"/>
              <a:gd name="connsiteY100" fmla="*/ 321278 h 1458087"/>
              <a:gd name="connsiteX101" fmla="*/ 2112359 w 3308032"/>
              <a:gd name="connsiteY101" fmla="*/ 292227 h 1458087"/>
              <a:gd name="connsiteX102" fmla="*/ 2126456 w 3308032"/>
              <a:gd name="connsiteY102" fmla="*/ 261366 h 1458087"/>
              <a:gd name="connsiteX103" fmla="*/ 2167795 w 3308032"/>
              <a:gd name="connsiteY103" fmla="*/ 249460 h 1458087"/>
              <a:gd name="connsiteX104" fmla="*/ 2211515 w 3308032"/>
              <a:gd name="connsiteY104" fmla="*/ 258413 h 1458087"/>
              <a:gd name="connsiteX105" fmla="*/ 2247043 w 3308032"/>
              <a:gd name="connsiteY105" fmla="*/ 285179 h 1458087"/>
              <a:gd name="connsiteX106" fmla="*/ 2298764 w 3308032"/>
              <a:gd name="connsiteY106" fmla="*/ 238316 h 1458087"/>
              <a:gd name="connsiteX107" fmla="*/ 2243328 w 3308032"/>
              <a:gd name="connsiteY107" fmla="*/ 196596 h 1458087"/>
              <a:gd name="connsiteX108" fmla="*/ 2170367 w 3308032"/>
              <a:gd name="connsiteY108" fmla="*/ 182785 h 1458087"/>
              <a:gd name="connsiteX109" fmla="*/ 2069211 w 3308032"/>
              <a:gd name="connsiteY109" fmla="*/ 214598 h 1458087"/>
              <a:gd name="connsiteX110" fmla="*/ 2029015 w 3308032"/>
              <a:gd name="connsiteY110" fmla="*/ 302228 h 1458087"/>
              <a:gd name="connsiteX111" fmla="*/ 2058638 w 3308032"/>
              <a:gd name="connsiteY111" fmla="*/ 375380 h 1458087"/>
              <a:gd name="connsiteX112" fmla="*/ 2163032 w 3308032"/>
              <a:gd name="connsiteY112" fmla="*/ 417957 h 1458087"/>
              <a:gd name="connsiteX113" fmla="*/ 2208943 w 3308032"/>
              <a:gd name="connsiteY113" fmla="*/ 435959 h 1458087"/>
              <a:gd name="connsiteX114" fmla="*/ 2224373 w 3308032"/>
              <a:gd name="connsiteY114" fmla="*/ 467011 h 1458087"/>
              <a:gd name="connsiteX115" fmla="*/ 2207990 w 3308032"/>
              <a:gd name="connsiteY115" fmla="*/ 502158 h 1458087"/>
              <a:gd name="connsiteX116" fmla="*/ 2162271 w 3308032"/>
              <a:gd name="connsiteY116" fmla="*/ 514636 h 1458087"/>
              <a:gd name="connsiteX117" fmla="*/ 2112645 w 3308032"/>
              <a:gd name="connsiteY117" fmla="*/ 502920 h 1458087"/>
              <a:gd name="connsiteX118" fmla="*/ 2068163 w 3308032"/>
              <a:gd name="connsiteY118" fmla="*/ 463677 h 1458087"/>
              <a:gd name="connsiteX119" fmla="*/ 2014633 w 3308032"/>
              <a:gd name="connsiteY119" fmla="*/ 511683 h 1458087"/>
              <a:gd name="connsiteX120" fmla="*/ 2074926 w 3308032"/>
              <a:gd name="connsiteY120" fmla="*/ 563785 h 1458087"/>
              <a:gd name="connsiteX121" fmla="*/ 2161604 w 3308032"/>
              <a:gd name="connsiteY121" fmla="*/ 581692 h 1458087"/>
              <a:gd name="connsiteX122" fmla="*/ 2267617 w 3308032"/>
              <a:gd name="connsiteY122" fmla="*/ 547878 h 1458087"/>
              <a:gd name="connsiteX123" fmla="*/ 2717292 w 3308032"/>
              <a:gd name="connsiteY123" fmla="*/ 237554 h 1458087"/>
              <a:gd name="connsiteX124" fmla="*/ 2769584 w 3308032"/>
              <a:gd name="connsiteY124" fmla="*/ 378905 h 1458087"/>
              <a:gd name="connsiteX125" fmla="*/ 2714530 w 3308032"/>
              <a:gd name="connsiteY125" fmla="*/ 524542 h 1458087"/>
              <a:gd name="connsiteX126" fmla="*/ 2569083 w 3308032"/>
              <a:gd name="connsiteY126" fmla="*/ 581692 h 1458087"/>
              <a:gd name="connsiteX127" fmla="*/ 2424875 w 3308032"/>
              <a:gd name="connsiteY127" fmla="*/ 528447 h 1458087"/>
              <a:gd name="connsiteX128" fmla="*/ 2371439 w 3308032"/>
              <a:gd name="connsiteY128" fmla="*/ 385191 h 1458087"/>
              <a:gd name="connsiteX129" fmla="*/ 2428018 w 3308032"/>
              <a:gd name="connsiteY129" fmla="*/ 238411 h 1458087"/>
              <a:gd name="connsiteX130" fmla="*/ 2574227 w 3308032"/>
              <a:gd name="connsiteY130" fmla="*/ 182785 h 1458087"/>
              <a:gd name="connsiteX131" fmla="*/ 2717292 w 3308032"/>
              <a:gd name="connsiteY131" fmla="*/ 237458 h 1458087"/>
              <a:gd name="connsiteX132" fmla="*/ 2678430 w 3308032"/>
              <a:gd name="connsiteY132" fmla="*/ 381191 h 1458087"/>
              <a:gd name="connsiteX133" fmla="*/ 2650522 w 3308032"/>
              <a:gd name="connsiteY133" fmla="*/ 289655 h 1458087"/>
              <a:gd name="connsiteX134" fmla="*/ 2572036 w 3308032"/>
              <a:gd name="connsiteY134" fmla="*/ 255079 h 1458087"/>
              <a:gd name="connsiteX135" fmla="*/ 2492216 w 3308032"/>
              <a:gd name="connsiteY135" fmla="*/ 290798 h 1458087"/>
              <a:gd name="connsiteX136" fmla="*/ 2462308 w 3308032"/>
              <a:gd name="connsiteY136" fmla="*/ 383477 h 1458087"/>
              <a:gd name="connsiteX137" fmla="*/ 2491931 w 3308032"/>
              <a:gd name="connsiteY137" fmla="*/ 476155 h 1458087"/>
              <a:gd name="connsiteX138" fmla="*/ 2572512 w 3308032"/>
              <a:gd name="connsiteY138" fmla="*/ 509969 h 1458087"/>
              <a:gd name="connsiteX139" fmla="*/ 2650808 w 3308032"/>
              <a:gd name="connsiteY139" fmla="*/ 475012 h 1458087"/>
              <a:gd name="connsiteX140" fmla="*/ 2678525 w 3308032"/>
              <a:gd name="connsiteY140" fmla="*/ 381286 h 1458087"/>
              <a:gd name="connsiteX141" fmla="*/ 3280410 w 3308032"/>
              <a:gd name="connsiteY141" fmla="*/ 494729 h 1458087"/>
              <a:gd name="connsiteX142" fmla="*/ 3257360 w 3308032"/>
              <a:gd name="connsiteY142" fmla="*/ 507397 h 1458087"/>
              <a:gd name="connsiteX143" fmla="*/ 3236500 w 3308032"/>
              <a:gd name="connsiteY143" fmla="*/ 511112 h 1458087"/>
              <a:gd name="connsiteX144" fmla="*/ 3205258 w 3308032"/>
              <a:gd name="connsiteY144" fmla="*/ 497872 h 1458087"/>
              <a:gd name="connsiteX145" fmla="*/ 3194114 w 3308032"/>
              <a:gd name="connsiteY145" fmla="*/ 456724 h 1458087"/>
              <a:gd name="connsiteX146" fmla="*/ 3194114 w 3308032"/>
              <a:gd name="connsiteY146" fmla="*/ 260985 h 1458087"/>
              <a:gd name="connsiteX147" fmla="*/ 3291269 w 3308032"/>
              <a:gd name="connsiteY147" fmla="*/ 260985 h 1458087"/>
              <a:gd name="connsiteX148" fmla="*/ 3291269 w 3308032"/>
              <a:gd name="connsiteY148" fmla="*/ 191738 h 1458087"/>
              <a:gd name="connsiteX149" fmla="*/ 3194114 w 3308032"/>
              <a:gd name="connsiteY149" fmla="*/ 191738 h 1458087"/>
              <a:gd name="connsiteX150" fmla="*/ 3194114 w 3308032"/>
              <a:gd name="connsiteY150" fmla="*/ 82677 h 1458087"/>
              <a:gd name="connsiteX151" fmla="*/ 3105150 w 3308032"/>
              <a:gd name="connsiteY151" fmla="*/ 98298 h 1458087"/>
              <a:gd name="connsiteX152" fmla="*/ 3105150 w 3308032"/>
              <a:gd name="connsiteY152" fmla="*/ 191643 h 1458087"/>
              <a:gd name="connsiteX153" fmla="*/ 2957227 w 3308032"/>
              <a:gd name="connsiteY153" fmla="*/ 191643 h 1458087"/>
              <a:gd name="connsiteX154" fmla="*/ 2957227 w 3308032"/>
              <a:gd name="connsiteY154" fmla="*/ 130969 h 1458087"/>
              <a:gd name="connsiteX155" fmla="*/ 2970086 w 3308032"/>
              <a:gd name="connsiteY155" fmla="*/ 86297 h 1458087"/>
              <a:gd name="connsiteX156" fmla="*/ 3006757 w 3308032"/>
              <a:gd name="connsiteY156" fmla="*/ 71438 h 1458087"/>
              <a:gd name="connsiteX157" fmla="*/ 3029236 w 3308032"/>
              <a:gd name="connsiteY157" fmla="*/ 74962 h 1458087"/>
              <a:gd name="connsiteX158" fmla="*/ 3049143 w 3308032"/>
              <a:gd name="connsiteY158" fmla="*/ 84868 h 1458087"/>
              <a:gd name="connsiteX159" fmla="*/ 3085624 w 3308032"/>
              <a:gd name="connsiteY159" fmla="*/ 20479 h 1458087"/>
              <a:gd name="connsiteX160" fmla="*/ 3045429 w 3308032"/>
              <a:gd name="connsiteY160" fmla="*/ 5048 h 1458087"/>
              <a:gd name="connsiteX161" fmla="*/ 3003042 w 3308032"/>
              <a:gd name="connsiteY161" fmla="*/ 0 h 1458087"/>
              <a:gd name="connsiteX162" fmla="*/ 2903887 w 3308032"/>
              <a:gd name="connsiteY162" fmla="*/ 34957 h 1458087"/>
              <a:gd name="connsiteX163" fmla="*/ 2868740 w 3308032"/>
              <a:gd name="connsiteY163" fmla="*/ 130207 h 1458087"/>
              <a:gd name="connsiteX164" fmla="*/ 2868740 w 3308032"/>
              <a:gd name="connsiteY164" fmla="*/ 191643 h 1458087"/>
              <a:gd name="connsiteX165" fmla="*/ 2803970 w 3308032"/>
              <a:gd name="connsiteY165" fmla="*/ 191643 h 1458087"/>
              <a:gd name="connsiteX166" fmla="*/ 2803970 w 3308032"/>
              <a:gd name="connsiteY166" fmla="*/ 260890 h 1458087"/>
              <a:gd name="connsiteX167" fmla="*/ 2868740 w 3308032"/>
              <a:gd name="connsiteY167" fmla="*/ 260890 h 1458087"/>
              <a:gd name="connsiteX168" fmla="*/ 2868740 w 3308032"/>
              <a:gd name="connsiteY168" fmla="*/ 572643 h 1458087"/>
              <a:gd name="connsiteX169" fmla="*/ 2957322 w 3308032"/>
              <a:gd name="connsiteY169" fmla="*/ 572643 h 1458087"/>
              <a:gd name="connsiteX170" fmla="*/ 2957322 w 3308032"/>
              <a:gd name="connsiteY170" fmla="*/ 260890 h 1458087"/>
              <a:gd name="connsiteX171" fmla="*/ 3105246 w 3308032"/>
              <a:gd name="connsiteY171" fmla="*/ 260890 h 1458087"/>
              <a:gd name="connsiteX172" fmla="*/ 3105246 w 3308032"/>
              <a:gd name="connsiteY172" fmla="*/ 469297 h 1458087"/>
              <a:gd name="connsiteX173" fmla="*/ 3133535 w 3308032"/>
              <a:gd name="connsiteY173" fmla="*/ 553022 h 1458087"/>
              <a:gd name="connsiteX174" fmla="*/ 3218021 w 3308032"/>
              <a:gd name="connsiteY174" fmla="*/ 581692 h 1458087"/>
              <a:gd name="connsiteX175" fmla="*/ 3269171 w 3308032"/>
              <a:gd name="connsiteY175" fmla="*/ 574453 h 1458087"/>
              <a:gd name="connsiteX176" fmla="*/ 3308033 w 3308032"/>
              <a:gd name="connsiteY176" fmla="*/ 554926 h 1458087"/>
              <a:gd name="connsiteX177" fmla="*/ 3280505 w 3308032"/>
              <a:gd name="connsiteY177" fmla="*/ 494633 h 1458087"/>
              <a:gd name="connsiteX178" fmla="*/ 301181 w 3308032"/>
              <a:gd name="connsiteY178" fmla="*/ 915543 h 1458087"/>
              <a:gd name="connsiteX179" fmla="*/ 497300 w 3308032"/>
              <a:gd name="connsiteY179" fmla="*/ 1449134 h 1458087"/>
              <a:gd name="connsiteX180" fmla="*/ 399860 w 3308032"/>
              <a:gd name="connsiteY180" fmla="*/ 1449134 h 1458087"/>
              <a:gd name="connsiteX181" fmla="*/ 354139 w 3308032"/>
              <a:gd name="connsiteY181" fmla="*/ 1324166 h 1458087"/>
              <a:gd name="connsiteX182" fmla="*/ 140970 w 3308032"/>
              <a:gd name="connsiteY182" fmla="*/ 1324166 h 1458087"/>
              <a:gd name="connsiteX183" fmla="*/ 97441 w 3308032"/>
              <a:gd name="connsiteY183" fmla="*/ 1449134 h 1458087"/>
              <a:gd name="connsiteX184" fmla="*/ 0 w 3308032"/>
              <a:gd name="connsiteY184" fmla="*/ 1449134 h 1458087"/>
              <a:gd name="connsiteX185" fmla="*/ 197930 w 3308032"/>
              <a:gd name="connsiteY185" fmla="*/ 915543 h 1458087"/>
              <a:gd name="connsiteX186" fmla="*/ 301371 w 3308032"/>
              <a:gd name="connsiteY186" fmla="*/ 915543 h 1458087"/>
              <a:gd name="connsiteX187" fmla="*/ 329851 w 3308032"/>
              <a:gd name="connsiteY187" fmla="*/ 1247108 h 1458087"/>
              <a:gd name="connsiteX188" fmla="*/ 257651 w 3308032"/>
              <a:gd name="connsiteY188" fmla="*/ 1037654 h 1458087"/>
              <a:gd name="connsiteX189" fmla="*/ 252984 w 3308032"/>
              <a:gd name="connsiteY189" fmla="*/ 1022795 h 1458087"/>
              <a:gd name="connsiteX190" fmla="*/ 248317 w 3308032"/>
              <a:gd name="connsiteY190" fmla="*/ 1006412 h 1458087"/>
              <a:gd name="connsiteX191" fmla="*/ 246126 w 3308032"/>
              <a:gd name="connsiteY191" fmla="*/ 1006412 h 1458087"/>
              <a:gd name="connsiteX192" fmla="*/ 241459 w 3308032"/>
              <a:gd name="connsiteY192" fmla="*/ 1022223 h 1458087"/>
              <a:gd name="connsiteX193" fmla="*/ 236411 w 3308032"/>
              <a:gd name="connsiteY193" fmla="*/ 1037654 h 1458087"/>
              <a:gd name="connsiteX194" fmla="*/ 164973 w 3308032"/>
              <a:gd name="connsiteY194" fmla="*/ 1247108 h 1458087"/>
              <a:gd name="connsiteX195" fmla="*/ 329756 w 3308032"/>
              <a:gd name="connsiteY195" fmla="*/ 1247108 h 1458087"/>
              <a:gd name="connsiteX196" fmla="*/ 557403 w 3308032"/>
              <a:gd name="connsiteY196" fmla="*/ 1449134 h 1458087"/>
              <a:gd name="connsiteX197" fmla="*/ 648557 w 3308032"/>
              <a:gd name="connsiteY197" fmla="*/ 1449134 h 1458087"/>
              <a:gd name="connsiteX198" fmla="*/ 648557 w 3308032"/>
              <a:gd name="connsiteY198" fmla="*/ 915543 h 1458087"/>
              <a:gd name="connsiteX199" fmla="*/ 557403 w 3308032"/>
              <a:gd name="connsiteY199" fmla="*/ 915543 h 1458087"/>
              <a:gd name="connsiteX200" fmla="*/ 557403 w 3308032"/>
              <a:gd name="connsiteY200" fmla="*/ 1449134 h 1458087"/>
              <a:gd name="connsiteX201" fmla="*/ 1271778 w 3308032"/>
              <a:gd name="connsiteY201" fmla="*/ 915543 h 1458087"/>
              <a:gd name="connsiteX202" fmla="*/ 883730 w 3308032"/>
              <a:gd name="connsiteY202" fmla="*/ 915543 h 1458087"/>
              <a:gd name="connsiteX203" fmla="*/ 883730 w 3308032"/>
              <a:gd name="connsiteY203" fmla="*/ 992600 h 1458087"/>
              <a:gd name="connsiteX204" fmla="*/ 1031843 w 3308032"/>
              <a:gd name="connsiteY204" fmla="*/ 992600 h 1458087"/>
              <a:gd name="connsiteX205" fmla="*/ 1031843 w 3308032"/>
              <a:gd name="connsiteY205" fmla="*/ 1449134 h 1458087"/>
              <a:gd name="connsiteX206" fmla="*/ 1122998 w 3308032"/>
              <a:gd name="connsiteY206" fmla="*/ 1449134 h 1458087"/>
              <a:gd name="connsiteX207" fmla="*/ 1122998 w 3308032"/>
              <a:gd name="connsiteY207" fmla="*/ 992600 h 1458087"/>
              <a:gd name="connsiteX208" fmla="*/ 1271778 w 3308032"/>
              <a:gd name="connsiteY208" fmla="*/ 992600 h 1458087"/>
              <a:gd name="connsiteX209" fmla="*/ 1271778 w 3308032"/>
              <a:gd name="connsiteY209" fmla="*/ 915543 h 1458087"/>
              <a:gd name="connsiteX210" fmla="*/ 1581340 w 3308032"/>
              <a:gd name="connsiteY210" fmla="*/ 1113854 h 1458087"/>
              <a:gd name="connsiteX211" fmla="*/ 1633633 w 3308032"/>
              <a:gd name="connsiteY211" fmla="*/ 1255205 h 1458087"/>
              <a:gd name="connsiteX212" fmla="*/ 1578578 w 3308032"/>
              <a:gd name="connsiteY212" fmla="*/ 1400842 h 1458087"/>
              <a:gd name="connsiteX213" fmla="*/ 1433132 w 3308032"/>
              <a:gd name="connsiteY213" fmla="*/ 1457992 h 1458087"/>
              <a:gd name="connsiteX214" fmla="*/ 1288923 w 3308032"/>
              <a:gd name="connsiteY214" fmla="*/ 1404747 h 1458087"/>
              <a:gd name="connsiteX215" fmla="*/ 1235488 w 3308032"/>
              <a:gd name="connsiteY215" fmla="*/ 1261491 h 1458087"/>
              <a:gd name="connsiteX216" fmla="*/ 1292066 w 3308032"/>
              <a:gd name="connsiteY216" fmla="*/ 1114711 h 1458087"/>
              <a:gd name="connsiteX217" fmla="*/ 1438275 w 3308032"/>
              <a:gd name="connsiteY217" fmla="*/ 1059085 h 1458087"/>
              <a:gd name="connsiteX218" fmla="*/ 1581340 w 3308032"/>
              <a:gd name="connsiteY218" fmla="*/ 1113758 h 1458087"/>
              <a:gd name="connsiteX219" fmla="*/ 1542479 w 3308032"/>
              <a:gd name="connsiteY219" fmla="*/ 1257491 h 1458087"/>
              <a:gd name="connsiteX220" fmla="*/ 1514570 w 3308032"/>
              <a:gd name="connsiteY220" fmla="*/ 1165955 h 1458087"/>
              <a:gd name="connsiteX221" fmla="*/ 1436084 w 3308032"/>
              <a:gd name="connsiteY221" fmla="*/ 1131380 h 1458087"/>
              <a:gd name="connsiteX222" fmla="*/ 1356265 w 3308032"/>
              <a:gd name="connsiteY222" fmla="*/ 1167098 h 1458087"/>
              <a:gd name="connsiteX223" fmla="*/ 1326356 w 3308032"/>
              <a:gd name="connsiteY223" fmla="*/ 1259777 h 1458087"/>
              <a:gd name="connsiteX224" fmla="*/ 1355979 w 3308032"/>
              <a:gd name="connsiteY224" fmla="*/ 1352455 h 1458087"/>
              <a:gd name="connsiteX225" fmla="*/ 1436561 w 3308032"/>
              <a:gd name="connsiteY225" fmla="*/ 1386269 h 1458087"/>
              <a:gd name="connsiteX226" fmla="*/ 1514856 w 3308032"/>
              <a:gd name="connsiteY226" fmla="*/ 1351312 h 1458087"/>
              <a:gd name="connsiteX227" fmla="*/ 1542574 w 3308032"/>
              <a:gd name="connsiteY227" fmla="*/ 1257586 h 1458087"/>
              <a:gd name="connsiteX228" fmla="*/ 1951577 w 3308032"/>
              <a:gd name="connsiteY228" fmla="*/ 1285399 h 1458087"/>
              <a:gd name="connsiteX229" fmla="*/ 1926622 w 3308032"/>
              <a:gd name="connsiteY229" fmla="*/ 1357598 h 1458087"/>
              <a:gd name="connsiteX230" fmla="*/ 1862233 w 3308032"/>
              <a:gd name="connsiteY230" fmla="*/ 1386269 h 1458087"/>
              <a:gd name="connsiteX231" fmla="*/ 1805273 w 3308032"/>
              <a:gd name="connsiteY231" fmla="*/ 1362266 h 1458087"/>
              <a:gd name="connsiteX232" fmla="*/ 1787081 w 3308032"/>
              <a:gd name="connsiteY232" fmla="*/ 1290638 h 1458087"/>
              <a:gd name="connsiteX233" fmla="*/ 1787081 w 3308032"/>
              <a:gd name="connsiteY233" fmla="*/ 1068134 h 1458087"/>
              <a:gd name="connsiteX234" fmla="*/ 1698498 w 3308032"/>
              <a:gd name="connsiteY234" fmla="*/ 1068134 h 1458087"/>
              <a:gd name="connsiteX235" fmla="*/ 1698498 w 3308032"/>
              <a:gd name="connsiteY235" fmla="*/ 1302544 h 1458087"/>
              <a:gd name="connsiteX236" fmla="*/ 1732502 w 3308032"/>
              <a:gd name="connsiteY236" fmla="*/ 1418463 h 1458087"/>
              <a:gd name="connsiteX237" fmla="*/ 1833563 w 3308032"/>
              <a:gd name="connsiteY237" fmla="*/ 1458087 h 1458087"/>
              <a:gd name="connsiteX238" fmla="*/ 1899571 w 3308032"/>
              <a:gd name="connsiteY238" fmla="*/ 1441514 h 1458087"/>
              <a:gd name="connsiteX239" fmla="*/ 1949577 w 3308032"/>
              <a:gd name="connsiteY239" fmla="*/ 1397413 h 1458087"/>
              <a:gd name="connsiteX240" fmla="*/ 1951482 w 3308032"/>
              <a:gd name="connsiteY240" fmla="*/ 1397413 h 1458087"/>
              <a:gd name="connsiteX241" fmla="*/ 1951482 w 3308032"/>
              <a:gd name="connsiteY241" fmla="*/ 1449134 h 1458087"/>
              <a:gd name="connsiteX242" fmla="*/ 2040446 w 3308032"/>
              <a:gd name="connsiteY242" fmla="*/ 1449134 h 1458087"/>
              <a:gd name="connsiteX243" fmla="*/ 2040446 w 3308032"/>
              <a:gd name="connsiteY243" fmla="*/ 1068134 h 1458087"/>
              <a:gd name="connsiteX244" fmla="*/ 1951482 w 3308032"/>
              <a:gd name="connsiteY244" fmla="*/ 1068134 h 1458087"/>
              <a:gd name="connsiteX245" fmla="*/ 1951482 w 3308032"/>
              <a:gd name="connsiteY245" fmla="*/ 1285399 h 1458087"/>
              <a:gd name="connsiteX246" fmla="*/ 2326767 w 3308032"/>
              <a:gd name="connsiteY246" fmla="*/ 1061466 h 1458087"/>
              <a:gd name="connsiteX247" fmla="*/ 2266474 w 3308032"/>
              <a:gd name="connsiteY247" fmla="*/ 1080992 h 1458087"/>
              <a:gd name="connsiteX248" fmla="*/ 2227040 w 3308032"/>
              <a:gd name="connsiteY248" fmla="*/ 1136999 h 1458087"/>
              <a:gd name="connsiteX249" fmla="*/ 2225516 w 3308032"/>
              <a:gd name="connsiteY249" fmla="*/ 1136999 h 1458087"/>
              <a:gd name="connsiteX250" fmla="*/ 2225516 w 3308032"/>
              <a:gd name="connsiteY250" fmla="*/ 1068134 h 1458087"/>
              <a:gd name="connsiteX251" fmla="*/ 2136553 w 3308032"/>
              <a:gd name="connsiteY251" fmla="*/ 1068134 h 1458087"/>
              <a:gd name="connsiteX252" fmla="*/ 2136553 w 3308032"/>
              <a:gd name="connsiteY252" fmla="*/ 1449134 h 1458087"/>
              <a:gd name="connsiteX253" fmla="*/ 2225516 w 3308032"/>
              <a:gd name="connsiteY253" fmla="*/ 1449134 h 1458087"/>
              <a:gd name="connsiteX254" fmla="*/ 2225516 w 3308032"/>
              <a:gd name="connsiteY254" fmla="*/ 1260824 h 1458087"/>
              <a:gd name="connsiteX255" fmla="*/ 2249138 w 3308032"/>
              <a:gd name="connsiteY255" fmla="*/ 1172623 h 1458087"/>
              <a:gd name="connsiteX256" fmla="*/ 2311051 w 3308032"/>
              <a:gd name="connsiteY256" fmla="*/ 1139095 h 1458087"/>
              <a:gd name="connsiteX257" fmla="*/ 2334292 w 3308032"/>
              <a:gd name="connsiteY257" fmla="*/ 1141476 h 1458087"/>
              <a:gd name="connsiteX258" fmla="*/ 2356104 w 3308032"/>
              <a:gd name="connsiteY258" fmla="*/ 1147953 h 1458087"/>
              <a:gd name="connsiteX259" fmla="*/ 2379917 w 3308032"/>
              <a:gd name="connsiteY259" fmla="*/ 1072039 h 1458087"/>
              <a:gd name="connsiteX260" fmla="*/ 2353532 w 3308032"/>
              <a:gd name="connsiteY260" fmla="*/ 1063466 h 1458087"/>
              <a:gd name="connsiteX261" fmla="*/ 2326767 w 3308032"/>
              <a:gd name="connsiteY261" fmla="*/ 1061276 h 1458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</a:cxnLst>
            <a:rect l="l" t="t" r="r" b="b"/>
            <a:pathLst>
              <a:path w="3308032" h="1458087">
                <a:moveTo>
                  <a:pt x="542449" y="193453"/>
                </a:moveTo>
                <a:cubicBezTo>
                  <a:pt x="542830" y="180404"/>
                  <a:pt x="543116" y="165640"/>
                  <a:pt x="543401" y="148971"/>
                </a:cubicBezTo>
                <a:lnTo>
                  <a:pt x="541211" y="148971"/>
                </a:lnTo>
                <a:cubicBezTo>
                  <a:pt x="539020" y="156400"/>
                  <a:pt x="536829" y="162877"/>
                  <a:pt x="534924" y="168497"/>
                </a:cubicBezTo>
                <a:cubicBezTo>
                  <a:pt x="532924" y="174117"/>
                  <a:pt x="530733" y="180023"/>
                  <a:pt x="528257" y="186214"/>
                </a:cubicBezTo>
                <a:lnTo>
                  <a:pt x="374618" y="572834"/>
                </a:lnTo>
                <a:lnTo>
                  <a:pt x="310229" y="572834"/>
                </a:lnTo>
                <a:lnTo>
                  <a:pt x="155448" y="189643"/>
                </a:lnTo>
                <a:cubicBezTo>
                  <a:pt x="153448" y="183928"/>
                  <a:pt x="151447" y="178213"/>
                  <a:pt x="149352" y="172307"/>
                </a:cubicBezTo>
                <a:cubicBezTo>
                  <a:pt x="147257" y="166497"/>
                  <a:pt x="144589" y="158687"/>
                  <a:pt x="141351" y="149066"/>
                </a:cubicBezTo>
                <a:lnTo>
                  <a:pt x="139160" y="149066"/>
                </a:lnTo>
                <a:cubicBezTo>
                  <a:pt x="139637" y="164497"/>
                  <a:pt x="140018" y="180023"/>
                  <a:pt x="140303" y="195739"/>
                </a:cubicBezTo>
                <a:cubicBezTo>
                  <a:pt x="140589" y="211455"/>
                  <a:pt x="140684" y="228410"/>
                  <a:pt x="140684" y="246507"/>
                </a:cubicBezTo>
                <a:lnTo>
                  <a:pt x="140684" y="572834"/>
                </a:lnTo>
                <a:lnTo>
                  <a:pt x="55817" y="572834"/>
                </a:lnTo>
                <a:lnTo>
                  <a:pt x="55817" y="39243"/>
                </a:lnTo>
                <a:lnTo>
                  <a:pt x="185642" y="39243"/>
                </a:lnTo>
                <a:lnTo>
                  <a:pt x="322231" y="383381"/>
                </a:lnTo>
                <a:cubicBezTo>
                  <a:pt x="327470" y="396050"/>
                  <a:pt x="331565" y="406813"/>
                  <a:pt x="334709" y="415576"/>
                </a:cubicBezTo>
                <a:cubicBezTo>
                  <a:pt x="337852" y="424339"/>
                  <a:pt x="340805" y="434150"/>
                  <a:pt x="343853" y="444817"/>
                </a:cubicBezTo>
                <a:lnTo>
                  <a:pt x="346043" y="444817"/>
                </a:lnTo>
                <a:cubicBezTo>
                  <a:pt x="350520" y="432911"/>
                  <a:pt x="354520" y="422148"/>
                  <a:pt x="358140" y="412433"/>
                </a:cubicBezTo>
                <a:cubicBezTo>
                  <a:pt x="361760" y="402717"/>
                  <a:pt x="365474" y="392716"/>
                  <a:pt x="369475" y="382334"/>
                </a:cubicBezTo>
                <a:lnTo>
                  <a:pt x="507873" y="39243"/>
                </a:lnTo>
                <a:lnTo>
                  <a:pt x="632555" y="39243"/>
                </a:lnTo>
                <a:lnTo>
                  <a:pt x="632555" y="572834"/>
                </a:lnTo>
                <a:lnTo>
                  <a:pt x="542163" y="572834"/>
                </a:lnTo>
                <a:lnTo>
                  <a:pt x="542163" y="234220"/>
                </a:lnTo>
                <a:cubicBezTo>
                  <a:pt x="542163" y="220123"/>
                  <a:pt x="542354" y="206502"/>
                  <a:pt x="542735" y="193453"/>
                </a:cubicBezTo>
                <a:close/>
                <a:moveTo>
                  <a:pt x="768001" y="14383"/>
                </a:moveTo>
                <a:cubicBezTo>
                  <a:pt x="751904" y="14383"/>
                  <a:pt x="738759" y="19431"/>
                  <a:pt x="728567" y="29623"/>
                </a:cubicBezTo>
                <a:cubicBezTo>
                  <a:pt x="718376" y="39815"/>
                  <a:pt x="713327" y="52292"/>
                  <a:pt x="713327" y="67247"/>
                </a:cubicBezTo>
                <a:cubicBezTo>
                  <a:pt x="713327" y="82201"/>
                  <a:pt x="718376" y="94488"/>
                  <a:pt x="728567" y="104966"/>
                </a:cubicBezTo>
                <a:cubicBezTo>
                  <a:pt x="738759" y="115538"/>
                  <a:pt x="751904" y="120777"/>
                  <a:pt x="768001" y="120777"/>
                </a:cubicBezTo>
                <a:cubicBezTo>
                  <a:pt x="784098" y="120777"/>
                  <a:pt x="798005" y="115729"/>
                  <a:pt x="808196" y="105537"/>
                </a:cubicBezTo>
                <a:cubicBezTo>
                  <a:pt x="818388" y="95345"/>
                  <a:pt x="823436" y="82677"/>
                  <a:pt x="823436" y="67627"/>
                </a:cubicBezTo>
                <a:cubicBezTo>
                  <a:pt x="823436" y="52578"/>
                  <a:pt x="818388" y="39815"/>
                  <a:pt x="808196" y="29718"/>
                </a:cubicBezTo>
                <a:cubicBezTo>
                  <a:pt x="798005" y="19526"/>
                  <a:pt x="784669" y="14478"/>
                  <a:pt x="768001" y="14478"/>
                </a:cubicBezTo>
                <a:close/>
                <a:moveTo>
                  <a:pt x="723329" y="572834"/>
                </a:moveTo>
                <a:lnTo>
                  <a:pt x="812292" y="572834"/>
                </a:lnTo>
                <a:lnTo>
                  <a:pt x="812292" y="191834"/>
                </a:lnTo>
                <a:lnTo>
                  <a:pt x="723329" y="191834"/>
                </a:lnTo>
                <a:lnTo>
                  <a:pt x="723329" y="572834"/>
                </a:lnTo>
                <a:close/>
                <a:moveTo>
                  <a:pt x="1079278" y="581787"/>
                </a:moveTo>
                <a:cubicBezTo>
                  <a:pt x="1112234" y="581787"/>
                  <a:pt x="1142238" y="575120"/>
                  <a:pt x="1169099" y="561689"/>
                </a:cubicBezTo>
                <a:cubicBezTo>
                  <a:pt x="1195959" y="548259"/>
                  <a:pt x="1217867" y="527876"/>
                  <a:pt x="1234726" y="500253"/>
                </a:cubicBezTo>
                <a:lnTo>
                  <a:pt x="1165860" y="461582"/>
                </a:lnTo>
                <a:cubicBezTo>
                  <a:pt x="1154716" y="478250"/>
                  <a:pt x="1142048" y="490061"/>
                  <a:pt x="1127951" y="497110"/>
                </a:cubicBezTo>
                <a:cubicBezTo>
                  <a:pt x="1113854" y="504158"/>
                  <a:pt x="1098328" y="507683"/>
                  <a:pt x="1081469" y="507683"/>
                </a:cubicBezTo>
                <a:cubicBezTo>
                  <a:pt x="1049179" y="507683"/>
                  <a:pt x="1023461" y="496919"/>
                  <a:pt x="1004126" y="475298"/>
                </a:cubicBezTo>
                <a:cubicBezTo>
                  <a:pt x="984790" y="453676"/>
                  <a:pt x="975074" y="423005"/>
                  <a:pt x="975074" y="383000"/>
                </a:cubicBezTo>
                <a:cubicBezTo>
                  <a:pt x="975074" y="342995"/>
                  <a:pt x="984885" y="311087"/>
                  <a:pt x="1004506" y="288512"/>
                </a:cubicBezTo>
                <a:cubicBezTo>
                  <a:pt x="1024128" y="265938"/>
                  <a:pt x="1048988" y="254699"/>
                  <a:pt x="1079278" y="254699"/>
                </a:cubicBezTo>
                <a:cubicBezTo>
                  <a:pt x="1096613" y="254699"/>
                  <a:pt x="1112044" y="258318"/>
                  <a:pt x="1125379" y="265462"/>
                </a:cubicBezTo>
                <a:cubicBezTo>
                  <a:pt x="1138809" y="272701"/>
                  <a:pt x="1151192" y="284798"/>
                  <a:pt x="1162622" y="301943"/>
                </a:cubicBezTo>
                <a:lnTo>
                  <a:pt x="1232535" y="267367"/>
                </a:lnTo>
                <a:cubicBezTo>
                  <a:pt x="1219105" y="239554"/>
                  <a:pt x="1199102" y="218599"/>
                  <a:pt x="1172432" y="204311"/>
                </a:cubicBezTo>
                <a:cubicBezTo>
                  <a:pt x="1145762" y="190024"/>
                  <a:pt x="1115663" y="182880"/>
                  <a:pt x="1082231" y="182880"/>
                </a:cubicBezTo>
                <a:cubicBezTo>
                  <a:pt x="1023652" y="182880"/>
                  <a:pt x="976027" y="201263"/>
                  <a:pt x="939356" y="238125"/>
                </a:cubicBezTo>
                <a:cubicBezTo>
                  <a:pt x="902589" y="274987"/>
                  <a:pt x="884301" y="325279"/>
                  <a:pt x="884301" y="389001"/>
                </a:cubicBezTo>
                <a:cubicBezTo>
                  <a:pt x="884301" y="447008"/>
                  <a:pt x="901541" y="493681"/>
                  <a:pt x="936022" y="528923"/>
                </a:cubicBezTo>
                <a:cubicBezTo>
                  <a:pt x="970502" y="564166"/>
                  <a:pt x="1018223" y="581787"/>
                  <a:pt x="1079278" y="581787"/>
                </a:cubicBezTo>
                <a:close/>
                <a:moveTo>
                  <a:pt x="1393031" y="384524"/>
                </a:moveTo>
                <a:cubicBezTo>
                  <a:pt x="1393031" y="348044"/>
                  <a:pt x="1400937" y="318707"/>
                  <a:pt x="1416653" y="296323"/>
                </a:cubicBezTo>
                <a:cubicBezTo>
                  <a:pt x="1432370" y="274034"/>
                  <a:pt x="1453039" y="262795"/>
                  <a:pt x="1478566" y="262795"/>
                </a:cubicBezTo>
                <a:cubicBezTo>
                  <a:pt x="1486757" y="262795"/>
                  <a:pt x="1494473" y="263557"/>
                  <a:pt x="1501807" y="265176"/>
                </a:cubicBezTo>
                <a:cubicBezTo>
                  <a:pt x="1509141" y="266795"/>
                  <a:pt x="1516380" y="268986"/>
                  <a:pt x="1523619" y="271653"/>
                </a:cubicBezTo>
                <a:lnTo>
                  <a:pt x="1547432" y="195739"/>
                </a:lnTo>
                <a:cubicBezTo>
                  <a:pt x="1538002" y="191548"/>
                  <a:pt x="1529239" y="188690"/>
                  <a:pt x="1521047" y="187166"/>
                </a:cubicBezTo>
                <a:cubicBezTo>
                  <a:pt x="1512856" y="185642"/>
                  <a:pt x="1503902" y="184975"/>
                  <a:pt x="1494282" y="184975"/>
                </a:cubicBezTo>
                <a:cubicBezTo>
                  <a:pt x="1471422" y="184975"/>
                  <a:pt x="1451324" y="191452"/>
                  <a:pt x="1433989" y="204502"/>
                </a:cubicBezTo>
                <a:cubicBezTo>
                  <a:pt x="1416653" y="217551"/>
                  <a:pt x="1403509" y="236220"/>
                  <a:pt x="1394555" y="260509"/>
                </a:cubicBezTo>
                <a:lnTo>
                  <a:pt x="1393031" y="260509"/>
                </a:lnTo>
                <a:lnTo>
                  <a:pt x="1393031" y="191643"/>
                </a:lnTo>
                <a:lnTo>
                  <a:pt x="1304068" y="191643"/>
                </a:lnTo>
                <a:lnTo>
                  <a:pt x="1304068" y="572643"/>
                </a:lnTo>
                <a:lnTo>
                  <a:pt x="1393031" y="572643"/>
                </a:lnTo>
                <a:lnTo>
                  <a:pt x="1393031" y="384334"/>
                </a:lnTo>
                <a:close/>
                <a:moveTo>
                  <a:pt x="1621917" y="528542"/>
                </a:moveTo>
                <a:cubicBezTo>
                  <a:pt x="1586294" y="493109"/>
                  <a:pt x="1568482" y="445294"/>
                  <a:pt x="1568482" y="385286"/>
                </a:cubicBezTo>
                <a:cubicBezTo>
                  <a:pt x="1568768" y="324517"/>
                  <a:pt x="1587532" y="275558"/>
                  <a:pt x="1625060" y="238506"/>
                </a:cubicBezTo>
                <a:cubicBezTo>
                  <a:pt x="1662494" y="201454"/>
                  <a:pt x="1711262" y="182880"/>
                  <a:pt x="1771269" y="182880"/>
                </a:cubicBezTo>
                <a:cubicBezTo>
                  <a:pt x="1831277" y="182880"/>
                  <a:pt x="1879473" y="201073"/>
                  <a:pt x="1914335" y="237554"/>
                </a:cubicBezTo>
                <a:cubicBezTo>
                  <a:pt x="1949196" y="274034"/>
                  <a:pt x="1966627" y="321183"/>
                  <a:pt x="1966627" y="378905"/>
                </a:cubicBezTo>
                <a:cubicBezTo>
                  <a:pt x="1966627" y="436626"/>
                  <a:pt x="1948244" y="486537"/>
                  <a:pt x="1911572" y="524542"/>
                </a:cubicBezTo>
                <a:cubicBezTo>
                  <a:pt x="1874901" y="562642"/>
                  <a:pt x="1826324" y="581692"/>
                  <a:pt x="1766126" y="581692"/>
                </a:cubicBezTo>
                <a:cubicBezTo>
                  <a:pt x="1705928" y="581692"/>
                  <a:pt x="1657540" y="563975"/>
                  <a:pt x="1621917" y="528447"/>
                </a:cubicBezTo>
                <a:close/>
                <a:moveTo>
                  <a:pt x="1659350" y="383477"/>
                </a:moveTo>
                <a:cubicBezTo>
                  <a:pt x="1659350" y="422720"/>
                  <a:pt x="1669256" y="453580"/>
                  <a:pt x="1688973" y="476155"/>
                </a:cubicBezTo>
                <a:cubicBezTo>
                  <a:pt x="1708690" y="498729"/>
                  <a:pt x="1735550" y="509969"/>
                  <a:pt x="1769555" y="509969"/>
                </a:cubicBezTo>
                <a:cubicBezTo>
                  <a:pt x="1803559" y="509969"/>
                  <a:pt x="1829372" y="498348"/>
                  <a:pt x="1847850" y="475012"/>
                </a:cubicBezTo>
                <a:cubicBezTo>
                  <a:pt x="1866329" y="451675"/>
                  <a:pt x="1875568" y="420434"/>
                  <a:pt x="1875568" y="381286"/>
                </a:cubicBezTo>
                <a:cubicBezTo>
                  <a:pt x="1875568" y="342138"/>
                  <a:pt x="1866233" y="312801"/>
                  <a:pt x="1847660" y="289750"/>
                </a:cubicBezTo>
                <a:cubicBezTo>
                  <a:pt x="1829086" y="266700"/>
                  <a:pt x="1802892" y="255175"/>
                  <a:pt x="1769174" y="255175"/>
                </a:cubicBezTo>
                <a:cubicBezTo>
                  <a:pt x="1735455" y="255175"/>
                  <a:pt x="1709357" y="267081"/>
                  <a:pt x="1689354" y="290894"/>
                </a:cubicBezTo>
                <a:cubicBezTo>
                  <a:pt x="1669352" y="314706"/>
                  <a:pt x="1659446" y="345567"/>
                  <a:pt x="1659446" y="383572"/>
                </a:cubicBezTo>
                <a:close/>
                <a:moveTo>
                  <a:pt x="2267426" y="547878"/>
                </a:moveTo>
                <a:cubicBezTo>
                  <a:pt x="2294477" y="525304"/>
                  <a:pt x="2308003" y="495681"/>
                  <a:pt x="2308003" y="458915"/>
                </a:cubicBezTo>
                <a:cubicBezTo>
                  <a:pt x="2308003" y="426149"/>
                  <a:pt x="2297621" y="399859"/>
                  <a:pt x="2276761" y="380048"/>
                </a:cubicBezTo>
                <a:cubicBezTo>
                  <a:pt x="2255901" y="360236"/>
                  <a:pt x="2224373" y="346710"/>
                  <a:pt x="2182273" y="339471"/>
                </a:cubicBezTo>
                <a:cubicBezTo>
                  <a:pt x="2155222" y="334232"/>
                  <a:pt x="2136839" y="328232"/>
                  <a:pt x="2127028" y="321278"/>
                </a:cubicBezTo>
                <a:cubicBezTo>
                  <a:pt x="2117217" y="314325"/>
                  <a:pt x="2112359" y="304705"/>
                  <a:pt x="2112359" y="292227"/>
                </a:cubicBezTo>
                <a:cubicBezTo>
                  <a:pt x="2112359" y="279749"/>
                  <a:pt x="2117027" y="269272"/>
                  <a:pt x="2126456" y="261366"/>
                </a:cubicBezTo>
                <a:cubicBezTo>
                  <a:pt x="2135886" y="253460"/>
                  <a:pt x="2149602" y="249460"/>
                  <a:pt x="2167795" y="249460"/>
                </a:cubicBezTo>
                <a:cubicBezTo>
                  <a:pt x="2184654" y="249460"/>
                  <a:pt x="2199227" y="252413"/>
                  <a:pt x="2211515" y="258413"/>
                </a:cubicBezTo>
                <a:cubicBezTo>
                  <a:pt x="2223802" y="264414"/>
                  <a:pt x="2235613" y="273272"/>
                  <a:pt x="2247043" y="285179"/>
                </a:cubicBezTo>
                <a:lnTo>
                  <a:pt x="2298764" y="238316"/>
                </a:lnTo>
                <a:cubicBezTo>
                  <a:pt x="2284381" y="219742"/>
                  <a:pt x="2265902" y="205835"/>
                  <a:pt x="2243328" y="196596"/>
                </a:cubicBezTo>
                <a:cubicBezTo>
                  <a:pt x="2220754" y="187452"/>
                  <a:pt x="2196465" y="182785"/>
                  <a:pt x="2170367" y="182785"/>
                </a:cubicBezTo>
                <a:cubicBezTo>
                  <a:pt x="2129695" y="182785"/>
                  <a:pt x="2095976" y="193358"/>
                  <a:pt x="2069211" y="214598"/>
                </a:cubicBezTo>
                <a:cubicBezTo>
                  <a:pt x="2042446" y="235839"/>
                  <a:pt x="2029015" y="264986"/>
                  <a:pt x="2029015" y="302228"/>
                </a:cubicBezTo>
                <a:cubicBezTo>
                  <a:pt x="2029015" y="331280"/>
                  <a:pt x="2038922" y="355664"/>
                  <a:pt x="2058638" y="375380"/>
                </a:cubicBezTo>
                <a:cubicBezTo>
                  <a:pt x="2078355" y="395097"/>
                  <a:pt x="2113121" y="409289"/>
                  <a:pt x="2163032" y="417957"/>
                </a:cubicBezTo>
                <a:cubicBezTo>
                  <a:pt x="2183321" y="421672"/>
                  <a:pt x="2198656" y="427673"/>
                  <a:pt x="2208943" y="435959"/>
                </a:cubicBezTo>
                <a:cubicBezTo>
                  <a:pt x="2219230" y="444246"/>
                  <a:pt x="2224373" y="454628"/>
                  <a:pt x="2224373" y="467011"/>
                </a:cubicBezTo>
                <a:cubicBezTo>
                  <a:pt x="2224373" y="482155"/>
                  <a:pt x="2218944" y="493871"/>
                  <a:pt x="2207990" y="502158"/>
                </a:cubicBezTo>
                <a:cubicBezTo>
                  <a:pt x="2197037" y="510445"/>
                  <a:pt x="2181797" y="514636"/>
                  <a:pt x="2162271" y="514636"/>
                </a:cubicBezTo>
                <a:cubicBezTo>
                  <a:pt x="2144935" y="514636"/>
                  <a:pt x="2128361" y="510730"/>
                  <a:pt x="2112645" y="502920"/>
                </a:cubicBezTo>
                <a:cubicBezTo>
                  <a:pt x="2096929" y="495109"/>
                  <a:pt x="2082070" y="482060"/>
                  <a:pt x="2068163" y="463677"/>
                </a:cubicBezTo>
                <a:lnTo>
                  <a:pt x="2014633" y="511683"/>
                </a:lnTo>
                <a:cubicBezTo>
                  <a:pt x="2028730" y="534543"/>
                  <a:pt x="2048828" y="551879"/>
                  <a:pt x="2074926" y="563785"/>
                </a:cubicBezTo>
                <a:cubicBezTo>
                  <a:pt x="2101025" y="575691"/>
                  <a:pt x="2129885" y="581692"/>
                  <a:pt x="2161604" y="581692"/>
                </a:cubicBezTo>
                <a:cubicBezTo>
                  <a:pt x="2205228" y="581692"/>
                  <a:pt x="2240566" y="570452"/>
                  <a:pt x="2267617" y="547878"/>
                </a:cubicBezTo>
                <a:close/>
                <a:moveTo>
                  <a:pt x="2717292" y="237554"/>
                </a:moveTo>
                <a:cubicBezTo>
                  <a:pt x="2752154" y="274034"/>
                  <a:pt x="2769584" y="321183"/>
                  <a:pt x="2769584" y="378905"/>
                </a:cubicBezTo>
                <a:cubicBezTo>
                  <a:pt x="2769584" y="436626"/>
                  <a:pt x="2751201" y="486537"/>
                  <a:pt x="2714530" y="524542"/>
                </a:cubicBezTo>
                <a:cubicBezTo>
                  <a:pt x="2677859" y="562642"/>
                  <a:pt x="2629281" y="581692"/>
                  <a:pt x="2569083" y="581692"/>
                </a:cubicBezTo>
                <a:cubicBezTo>
                  <a:pt x="2508885" y="581692"/>
                  <a:pt x="2460498" y="563975"/>
                  <a:pt x="2424875" y="528447"/>
                </a:cubicBezTo>
                <a:cubicBezTo>
                  <a:pt x="2389251" y="493014"/>
                  <a:pt x="2371439" y="445199"/>
                  <a:pt x="2371439" y="385191"/>
                </a:cubicBezTo>
                <a:cubicBezTo>
                  <a:pt x="2371725" y="324422"/>
                  <a:pt x="2390489" y="275463"/>
                  <a:pt x="2428018" y="238411"/>
                </a:cubicBezTo>
                <a:cubicBezTo>
                  <a:pt x="2465451" y="201359"/>
                  <a:pt x="2514219" y="182785"/>
                  <a:pt x="2574227" y="182785"/>
                </a:cubicBezTo>
                <a:cubicBezTo>
                  <a:pt x="2634234" y="182785"/>
                  <a:pt x="2682431" y="200977"/>
                  <a:pt x="2717292" y="237458"/>
                </a:cubicBezTo>
                <a:close/>
                <a:moveTo>
                  <a:pt x="2678430" y="381191"/>
                </a:moveTo>
                <a:cubicBezTo>
                  <a:pt x="2678430" y="343281"/>
                  <a:pt x="2669096" y="312706"/>
                  <a:pt x="2650522" y="289655"/>
                </a:cubicBezTo>
                <a:cubicBezTo>
                  <a:pt x="2631948" y="266605"/>
                  <a:pt x="2605754" y="255079"/>
                  <a:pt x="2572036" y="255079"/>
                </a:cubicBezTo>
                <a:cubicBezTo>
                  <a:pt x="2538317" y="255079"/>
                  <a:pt x="2512219" y="266986"/>
                  <a:pt x="2492216" y="290798"/>
                </a:cubicBezTo>
                <a:cubicBezTo>
                  <a:pt x="2472214" y="314611"/>
                  <a:pt x="2462308" y="345472"/>
                  <a:pt x="2462308" y="383477"/>
                </a:cubicBezTo>
                <a:cubicBezTo>
                  <a:pt x="2462308" y="421481"/>
                  <a:pt x="2472214" y="453580"/>
                  <a:pt x="2491931" y="476155"/>
                </a:cubicBezTo>
                <a:cubicBezTo>
                  <a:pt x="2511647" y="498729"/>
                  <a:pt x="2538508" y="509969"/>
                  <a:pt x="2572512" y="509969"/>
                </a:cubicBezTo>
                <a:cubicBezTo>
                  <a:pt x="2606516" y="509969"/>
                  <a:pt x="2632329" y="498348"/>
                  <a:pt x="2650808" y="475012"/>
                </a:cubicBezTo>
                <a:cubicBezTo>
                  <a:pt x="2669286" y="451675"/>
                  <a:pt x="2678525" y="420434"/>
                  <a:pt x="2678525" y="381286"/>
                </a:cubicBezTo>
                <a:close/>
                <a:moveTo>
                  <a:pt x="3280410" y="494729"/>
                </a:moveTo>
                <a:cubicBezTo>
                  <a:pt x="3272028" y="500634"/>
                  <a:pt x="3264313" y="504920"/>
                  <a:pt x="3257360" y="507397"/>
                </a:cubicBezTo>
                <a:cubicBezTo>
                  <a:pt x="3250406" y="509873"/>
                  <a:pt x="3243453" y="511112"/>
                  <a:pt x="3236500" y="511112"/>
                </a:cubicBezTo>
                <a:cubicBezTo>
                  <a:pt x="3223070" y="511112"/>
                  <a:pt x="3212687" y="506730"/>
                  <a:pt x="3205258" y="497872"/>
                </a:cubicBezTo>
                <a:cubicBezTo>
                  <a:pt x="3197829" y="489109"/>
                  <a:pt x="3194114" y="475393"/>
                  <a:pt x="3194114" y="456724"/>
                </a:cubicBezTo>
                <a:lnTo>
                  <a:pt x="3194114" y="260985"/>
                </a:lnTo>
                <a:lnTo>
                  <a:pt x="3291269" y="260985"/>
                </a:lnTo>
                <a:lnTo>
                  <a:pt x="3291269" y="191738"/>
                </a:lnTo>
                <a:lnTo>
                  <a:pt x="3194114" y="191738"/>
                </a:lnTo>
                <a:lnTo>
                  <a:pt x="3194114" y="82677"/>
                </a:lnTo>
                <a:lnTo>
                  <a:pt x="3105150" y="98298"/>
                </a:lnTo>
                <a:lnTo>
                  <a:pt x="3105150" y="191643"/>
                </a:lnTo>
                <a:lnTo>
                  <a:pt x="2957227" y="191643"/>
                </a:lnTo>
                <a:lnTo>
                  <a:pt x="2957227" y="130969"/>
                </a:lnTo>
                <a:cubicBezTo>
                  <a:pt x="2957227" y="111157"/>
                  <a:pt x="2961513" y="96202"/>
                  <a:pt x="2970086" y="86297"/>
                </a:cubicBezTo>
                <a:cubicBezTo>
                  <a:pt x="2978658" y="76391"/>
                  <a:pt x="2990850" y="71438"/>
                  <a:pt x="3006757" y="71438"/>
                </a:cubicBezTo>
                <a:cubicBezTo>
                  <a:pt x="3014948" y="71438"/>
                  <a:pt x="3022473" y="72581"/>
                  <a:pt x="3029236" y="74962"/>
                </a:cubicBezTo>
                <a:cubicBezTo>
                  <a:pt x="3036094" y="77343"/>
                  <a:pt x="3042666" y="80581"/>
                  <a:pt x="3049143" y="84868"/>
                </a:cubicBezTo>
                <a:lnTo>
                  <a:pt x="3085624" y="20479"/>
                </a:lnTo>
                <a:cubicBezTo>
                  <a:pt x="3072479" y="13525"/>
                  <a:pt x="3059049" y="8382"/>
                  <a:pt x="3045429" y="5048"/>
                </a:cubicBezTo>
                <a:cubicBezTo>
                  <a:pt x="3031808" y="1715"/>
                  <a:pt x="3017615" y="0"/>
                  <a:pt x="3003042" y="0"/>
                </a:cubicBezTo>
                <a:cubicBezTo>
                  <a:pt x="2960370" y="0"/>
                  <a:pt x="2927318" y="11621"/>
                  <a:pt x="2903887" y="34957"/>
                </a:cubicBezTo>
                <a:cubicBezTo>
                  <a:pt x="2880455" y="58293"/>
                  <a:pt x="2868740" y="90011"/>
                  <a:pt x="2868740" y="130207"/>
                </a:cubicBezTo>
                <a:lnTo>
                  <a:pt x="2868740" y="191643"/>
                </a:lnTo>
                <a:lnTo>
                  <a:pt x="2803970" y="191643"/>
                </a:lnTo>
                <a:lnTo>
                  <a:pt x="2803970" y="260890"/>
                </a:lnTo>
                <a:lnTo>
                  <a:pt x="2868740" y="260890"/>
                </a:lnTo>
                <a:lnTo>
                  <a:pt x="2868740" y="572643"/>
                </a:lnTo>
                <a:lnTo>
                  <a:pt x="2957322" y="572643"/>
                </a:lnTo>
                <a:lnTo>
                  <a:pt x="2957322" y="260890"/>
                </a:lnTo>
                <a:lnTo>
                  <a:pt x="3105246" y="260890"/>
                </a:lnTo>
                <a:lnTo>
                  <a:pt x="3105246" y="469297"/>
                </a:lnTo>
                <a:cubicBezTo>
                  <a:pt x="3105246" y="505968"/>
                  <a:pt x="3114675" y="533876"/>
                  <a:pt x="3133535" y="553022"/>
                </a:cubicBezTo>
                <a:cubicBezTo>
                  <a:pt x="3152394" y="572167"/>
                  <a:pt x="3180588" y="581692"/>
                  <a:pt x="3218021" y="581692"/>
                </a:cubicBezTo>
                <a:cubicBezTo>
                  <a:pt x="3236405" y="581692"/>
                  <a:pt x="3253454" y="579311"/>
                  <a:pt x="3269171" y="574453"/>
                </a:cubicBezTo>
                <a:cubicBezTo>
                  <a:pt x="3284887" y="569595"/>
                  <a:pt x="3297841" y="563118"/>
                  <a:pt x="3308033" y="554926"/>
                </a:cubicBezTo>
                <a:lnTo>
                  <a:pt x="3280505" y="494633"/>
                </a:lnTo>
                <a:close/>
                <a:moveTo>
                  <a:pt x="301181" y="915543"/>
                </a:moveTo>
                <a:lnTo>
                  <a:pt x="497300" y="1449134"/>
                </a:lnTo>
                <a:lnTo>
                  <a:pt x="399860" y="1449134"/>
                </a:lnTo>
                <a:lnTo>
                  <a:pt x="354139" y="1324166"/>
                </a:lnTo>
                <a:lnTo>
                  <a:pt x="140970" y="1324166"/>
                </a:lnTo>
                <a:lnTo>
                  <a:pt x="97441" y="1449134"/>
                </a:lnTo>
                <a:lnTo>
                  <a:pt x="0" y="1449134"/>
                </a:lnTo>
                <a:lnTo>
                  <a:pt x="197930" y="915543"/>
                </a:lnTo>
                <a:lnTo>
                  <a:pt x="301371" y="915543"/>
                </a:lnTo>
                <a:close/>
                <a:moveTo>
                  <a:pt x="329851" y="1247108"/>
                </a:moveTo>
                <a:lnTo>
                  <a:pt x="257651" y="1037654"/>
                </a:lnTo>
                <a:cubicBezTo>
                  <a:pt x="255937" y="1032224"/>
                  <a:pt x="254318" y="1027271"/>
                  <a:pt x="252984" y="1022795"/>
                </a:cubicBezTo>
                <a:cubicBezTo>
                  <a:pt x="251651" y="1018318"/>
                  <a:pt x="250031" y="1012888"/>
                  <a:pt x="248317" y="1006412"/>
                </a:cubicBezTo>
                <a:lnTo>
                  <a:pt x="246126" y="1006412"/>
                </a:lnTo>
                <a:cubicBezTo>
                  <a:pt x="244412" y="1012317"/>
                  <a:pt x="242792" y="1017651"/>
                  <a:pt x="241459" y="1022223"/>
                </a:cubicBezTo>
                <a:cubicBezTo>
                  <a:pt x="240125" y="1026795"/>
                  <a:pt x="238411" y="1031938"/>
                  <a:pt x="236411" y="1037654"/>
                </a:cubicBezTo>
                <a:lnTo>
                  <a:pt x="164973" y="1247108"/>
                </a:lnTo>
                <a:lnTo>
                  <a:pt x="329756" y="1247108"/>
                </a:lnTo>
                <a:close/>
                <a:moveTo>
                  <a:pt x="557403" y="1449134"/>
                </a:moveTo>
                <a:lnTo>
                  <a:pt x="648557" y="1449134"/>
                </a:lnTo>
                <a:lnTo>
                  <a:pt x="648557" y="915543"/>
                </a:lnTo>
                <a:lnTo>
                  <a:pt x="557403" y="915543"/>
                </a:lnTo>
                <a:lnTo>
                  <a:pt x="557403" y="1449134"/>
                </a:lnTo>
                <a:close/>
                <a:moveTo>
                  <a:pt x="1271778" y="915543"/>
                </a:moveTo>
                <a:lnTo>
                  <a:pt x="883730" y="915543"/>
                </a:lnTo>
                <a:lnTo>
                  <a:pt x="883730" y="992600"/>
                </a:lnTo>
                <a:lnTo>
                  <a:pt x="1031843" y="992600"/>
                </a:lnTo>
                <a:lnTo>
                  <a:pt x="1031843" y="1449134"/>
                </a:lnTo>
                <a:lnTo>
                  <a:pt x="1122998" y="1449134"/>
                </a:lnTo>
                <a:lnTo>
                  <a:pt x="1122998" y="992600"/>
                </a:lnTo>
                <a:lnTo>
                  <a:pt x="1271778" y="992600"/>
                </a:lnTo>
                <a:lnTo>
                  <a:pt x="1271778" y="915543"/>
                </a:lnTo>
                <a:close/>
                <a:moveTo>
                  <a:pt x="1581340" y="1113854"/>
                </a:moveTo>
                <a:cubicBezTo>
                  <a:pt x="1616202" y="1150334"/>
                  <a:pt x="1633633" y="1197483"/>
                  <a:pt x="1633633" y="1255205"/>
                </a:cubicBezTo>
                <a:cubicBezTo>
                  <a:pt x="1633633" y="1312926"/>
                  <a:pt x="1615250" y="1362837"/>
                  <a:pt x="1578578" y="1400842"/>
                </a:cubicBezTo>
                <a:cubicBezTo>
                  <a:pt x="1541812" y="1438942"/>
                  <a:pt x="1493330" y="1457992"/>
                  <a:pt x="1433132" y="1457992"/>
                </a:cubicBezTo>
                <a:cubicBezTo>
                  <a:pt x="1372934" y="1457992"/>
                  <a:pt x="1324547" y="1440275"/>
                  <a:pt x="1288923" y="1404747"/>
                </a:cubicBezTo>
                <a:cubicBezTo>
                  <a:pt x="1253300" y="1369314"/>
                  <a:pt x="1235488" y="1321499"/>
                  <a:pt x="1235488" y="1261491"/>
                </a:cubicBezTo>
                <a:cubicBezTo>
                  <a:pt x="1235774" y="1200722"/>
                  <a:pt x="1254538" y="1151763"/>
                  <a:pt x="1292066" y="1114711"/>
                </a:cubicBezTo>
                <a:cubicBezTo>
                  <a:pt x="1329500" y="1077659"/>
                  <a:pt x="1378268" y="1059085"/>
                  <a:pt x="1438275" y="1059085"/>
                </a:cubicBezTo>
                <a:cubicBezTo>
                  <a:pt x="1498283" y="1059085"/>
                  <a:pt x="1546479" y="1077278"/>
                  <a:pt x="1581340" y="1113758"/>
                </a:cubicBezTo>
                <a:close/>
                <a:moveTo>
                  <a:pt x="1542479" y="1257491"/>
                </a:moveTo>
                <a:cubicBezTo>
                  <a:pt x="1542479" y="1219581"/>
                  <a:pt x="1533144" y="1189006"/>
                  <a:pt x="1514570" y="1165955"/>
                </a:cubicBezTo>
                <a:cubicBezTo>
                  <a:pt x="1495997" y="1142905"/>
                  <a:pt x="1469803" y="1131380"/>
                  <a:pt x="1436084" y="1131380"/>
                </a:cubicBezTo>
                <a:cubicBezTo>
                  <a:pt x="1402366" y="1131380"/>
                  <a:pt x="1376267" y="1143286"/>
                  <a:pt x="1356265" y="1167098"/>
                </a:cubicBezTo>
                <a:cubicBezTo>
                  <a:pt x="1336262" y="1190911"/>
                  <a:pt x="1326356" y="1221772"/>
                  <a:pt x="1326356" y="1259777"/>
                </a:cubicBezTo>
                <a:cubicBezTo>
                  <a:pt x="1326356" y="1297781"/>
                  <a:pt x="1336262" y="1329881"/>
                  <a:pt x="1355979" y="1352455"/>
                </a:cubicBezTo>
                <a:cubicBezTo>
                  <a:pt x="1375696" y="1375029"/>
                  <a:pt x="1402556" y="1386269"/>
                  <a:pt x="1436561" y="1386269"/>
                </a:cubicBezTo>
                <a:cubicBezTo>
                  <a:pt x="1470565" y="1386269"/>
                  <a:pt x="1496378" y="1374648"/>
                  <a:pt x="1514856" y="1351312"/>
                </a:cubicBezTo>
                <a:cubicBezTo>
                  <a:pt x="1533335" y="1327976"/>
                  <a:pt x="1542574" y="1296734"/>
                  <a:pt x="1542574" y="1257586"/>
                </a:cubicBezTo>
                <a:close/>
                <a:moveTo>
                  <a:pt x="1951577" y="1285399"/>
                </a:moveTo>
                <a:cubicBezTo>
                  <a:pt x="1951577" y="1314450"/>
                  <a:pt x="1943290" y="1338453"/>
                  <a:pt x="1926622" y="1357598"/>
                </a:cubicBezTo>
                <a:cubicBezTo>
                  <a:pt x="1910048" y="1376744"/>
                  <a:pt x="1888522" y="1386269"/>
                  <a:pt x="1862233" y="1386269"/>
                </a:cubicBezTo>
                <a:cubicBezTo>
                  <a:pt x="1835944" y="1386269"/>
                  <a:pt x="1817465" y="1378268"/>
                  <a:pt x="1805273" y="1362266"/>
                </a:cubicBezTo>
                <a:cubicBezTo>
                  <a:pt x="1793081" y="1346264"/>
                  <a:pt x="1787081" y="1322356"/>
                  <a:pt x="1787081" y="1290638"/>
                </a:cubicBezTo>
                <a:lnTo>
                  <a:pt x="1787081" y="1068134"/>
                </a:lnTo>
                <a:lnTo>
                  <a:pt x="1698498" y="1068134"/>
                </a:lnTo>
                <a:lnTo>
                  <a:pt x="1698498" y="1302544"/>
                </a:lnTo>
                <a:cubicBezTo>
                  <a:pt x="1698498" y="1353407"/>
                  <a:pt x="1709833" y="1391984"/>
                  <a:pt x="1732502" y="1418463"/>
                </a:cubicBezTo>
                <a:cubicBezTo>
                  <a:pt x="1755172" y="1444943"/>
                  <a:pt x="1788890" y="1458087"/>
                  <a:pt x="1833563" y="1458087"/>
                </a:cubicBezTo>
                <a:cubicBezTo>
                  <a:pt x="1856423" y="1458087"/>
                  <a:pt x="1878425" y="1452563"/>
                  <a:pt x="1899571" y="1441514"/>
                </a:cubicBezTo>
                <a:cubicBezTo>
                  <a:pt x="1920716" y="1430465"/>
                  <a:pt x="1937480" y="1415796"/>
                  <a:pt x="1949577" y="1397413"/>
                </a:cubicBezTo>
                <a:lnTo>
                  <a:pt x="1951482" y="1397413"/>
                </a:lnTo>
                <a:lnTo>
                  <a:pt x="1951482" y="1449134"/>
                </a:lnTo>
                <a:lnTo>
                  <a:pt x="2040446" y="1449134"/>
                </a:lnTo>
                <a:lnTo>
                  <a:pt x="2040446" y="1068134"/>
                </a:lnTo>
                <a:lnTo>
                  <a:pt x="1951482" y="1068134"/>
                </a:lnTo>
                <a:lnTo>
                  <a:pt x="1951482" y="1285399"/>
                </a:lnTo>
                <a:close/>
                <a:moveTo>
                  <a:pt x="2326767" y="1061466"/>
                </a:moveTo>
                <a:cubicBezTo>
                  <a:pt x="2303907" y="1061466"/>
                  <a:pt x="2283809" y="1067943"/>
                  <a:pt x="2266474" y="1080992"/>
                </a:cubicBezTo>
                <a:cubicBezTo>
                  <a:pt x="2249138" y="1094042"/>
                  <a:pt x="2235994" y="1112711"/>
                  <a:pt x="2227040" y="1136999"/>
                </a:cubicBezTo>
                <a:lnTo>
                  <a:pt x="2225516" y="1136999"/>
                </a:lnTo>
                <a:lnTo>
                  <a:pt x="2225516" y="1068134"/>
                </a:lnTo>
                <a:lnTo>
                  <a:pt x="2136553" y="1068134"/>
                </a:lnTo>
                <a:lnTo>
                  <a:pt x="2136553" y="1449134"/>
                </a:lnTo>
                <a:lnTo>
                  <a:pt x="2225516" y="1449134"/>
                </a:lnTo>
                <a:lnTo>
                  <a:pt x="2225516" y="1260824"/>
                </a:lnTo>
                <a:cubicBezTo>
                  <a:pt x="2225516" y="1224344"/>
                  <a:pt x="2233422" y="1195007"/>
                  <a:pt x="2249138" y="1172623"/>
                </a:cubicBezTo>
                <a:cubicBezTo>
                  <a:pt x="2264855" y="1150334"/>
                  <a:pt x="2285524" y="1139095"/>
                  <a:pt x="2311051" y="1139095"/>
                </a:cubicBezTo>
                <a:cubicBezTo>
                  <a:pt x="2319242" y="1139095"/>
                  <a:pt x="2326958" y="1139857"/>
                  <a:pt x="2334292" y="1141476"/>
                </a:cubicBezTo>
                <a:cubicBezTo>
                  <a:pt x="2341626" y="1143095"/>
                  <a:pt x="2348865" y="1145286"/>
                  <a:pt x="2356104" y="1147953"/>
                </a:cubicBezTo>
                <a:lnTo>
                  <a:pt x="2379917" y="1072039"/>
                </a:lnTo>
                <a:cubicBezTo>
                  <a:pt x="2370487" y="1067848"/>
                  <a:pt x="2361724" y="1064990"/>
                  <a:pt x="2353532" y="1063466"/>
                </a:cubicBezTo>
                <a:cubicBezTo>
                  <a:pt x="2345341" y="1061942"/>
                  <a:pt x="2336387" y="1061276"/>
                  <a:pt x="2326767" y="1061276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33000">
                <a:srgbClr val="FFFFFF"/>
              </a:gs>
              <a:gs pos="69000">
                <a:srgbClr val="D4EC8E"/>
              </a:gs>
            </a:gsLst>
            <a:lin ang="2700000" scaled="0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19575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6D3C8DE-A151-6229-4ABB-693D018AB9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1"/>
            <a:ext cx="5577840" cy="1107996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lang="en-US" sz="18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Speaker name or subtitle text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7402CA17-47CB-D841-851F-EAC4B87C20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5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4FE235F-02A3-CF25-8716-2552AE844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42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79030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04833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7518206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3641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081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56129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CBEB8-AFEF-362F-CB36-DC00FA4C6C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496771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98337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813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48049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24849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6738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42385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2302580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718220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528669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43119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652742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532668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0784763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02993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103067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18275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052855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987396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71232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848493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3489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20527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105577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4265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753619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15431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830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971492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121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069437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291871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82.xml"/><Relationship Id="rId34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08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37" Type="http://schemas.openxmlformats.org/officeDocument/2006/relationships/slideLayout" Target="../slideLayouts/slideLayout98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7.xml"/><Relationship Id="rId49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4" Type="http://schemas.openxmlformats.org/officeDocument/2006/relationships/slideLayout" Target="../slideLayouts/slideLayout105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104.xml"/><Relationship Id="rId48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69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81.xml"/><Relationship Id="rId41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1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5F3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  <p:sldLayoutId id="2147483783" r:id="rId41"/>
    <p:sldLayoutId id="2147483784" r:id="rId42"/>
    <p:sldLayoutId id="2147483785" r:id="rId43"/>
    <p:sldLayoutId id="2147483786" r:id="rId44"/>
    <p:sldLayoutId id="2147483794" r:id="rId45"/>
    <p:sldLayoutId id="2147483795" r:id="rId46"/>
    <p:sldLayoutId id="2147483796" r:id="rId47"/>
    <p:sldLayoutId id="2147483797" r:id="rId48"/>
    <p:sldLayoutId id="2147483798" r:id="rId49"/>
    <p:sldLayoutId id="2147483799" r:id="rId50"/>
    <p:sldLayoutId id="2147483800" r:id="rId51"/>
    <p:sldLayoutId id="2147483801" r:id="rId52"/>
    <p:sldLayoutId id="2147483802" r:id="rId53"/>
    <p:sldLayoutId id="2147483803" r:id="rId5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800" b="0" i="0" smtClean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IN" sz="800" b="0" i="0" smtClean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IN"/>
              <a:t>Microsoft Fabric</a:t>
            </a:r>
          </a:p>
        </p:txBody>
      </p:sp>
    </p:spTree>
    <p:extLst>
      <p:ext uri="{BB962C8B-B14F-4D97-AF65-F5344CB8AC3E}">
        <p14:creationId xmlns:p14="http://schemas.microsoft.com/office/powerpoint/2010/main" val="379521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4320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412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4052" r:id="rId23"/>
    <p:sldLayoutId id="2147484053" r:id="rId24"/>
    <p:sldLayoutId id="2147484054" r:id="rId25"/>
    <p:sldLayoutId id="2147484055" r:id="rId26"/>
    <p:sldLayoutId id="2147484056" r:id="rId27"/>
    <p:sldLayoutId id="2147484057" r:id="rId28"/>
    <p:sldLayoutId id="2147484058" r:id="rId29"/>
    <p:sldLayoutId id="2147484059" r:id="rId30"/>
    <p:sldLayoutId id="2147484060" r:id="rId31"/>
    <p:sldLayoutId id="2147484061" r:id="rId32"/>
    <p:sldLayoutId id="2147484062" r:id="rId33"/>
    <p:sldLayoutId id="2147484063" r:id="rId34"/>
    <p:sldLayoutId id="2147484064" r:id="rId35"/>
    <p:sldLayoutId id="2147484065" r:id="rId36"/>
    <p:sldLayoutId id="2147484066" r:id="rId37"/>
    <p:sldLayoutId id="2147484067" r:id="rId38"/>
    <p:sldLayoutId id="2147484068" r:id="rId39"/>
    <p:sldLayoutId id="2147484069" r:id="rId40"/>
    <p:sldLayoutId id="2147484070" r:id="rId41"/>
    <p:sldLayoutId id="2147484071" r:id="rId42"/>
    <p:sldLayoutId id="2147484072" r:id="rId43"/>
    <p:sldLayoutId id="2147484073" r:id="rId44"/>
    <p:sldLayoutId id="2147484074" r:id="rId45"/>
    <p:sldLayoutId id="2147484075" r:id="rId46"/>
    <p:sldLayoutId id="2147484076" r:id="rId47"/>
    <p:sldLayoutId id="2147484077" r:id="rId48"/>
    <p:sldLayoutId id="2147484078" r:id="rId4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540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  <p:sldLayoutId id="2147484198" r:id="rId27"/>
    <p:sldLayoutId id="2147484199" r:id="rId28"/>
    <p:sldLayoutId id="2147484200" r:id="rId29"/>
    <p:sldLayoutId id="2147484201" r:id="rId30"/>
    <p:sldLayoutId id="2147484202" r:id="rId31"/>
    <p:sldLayoutId id="2147484203" r:id="rId32"/>
    <p:sldLayoutId id="2147484204" r:id="rId33"/>
    <p:sldLayoutId id="2147484205" r:id="rId34"/>
    <p:sldLayoutId id="2147484206" r:id="rId35"/>
    <p:sldLayoutId id="2147484207" r:id="rId36"/>
    <p:sldLayoutId id="2147484208" r:id="rId37"/>
    <p:sldLayoutId id="2147484209" r:id="rId38"/>
    <p:sldLayoutId id="2147484210" r:id="rId39"/>
    <p:sldLayoutId id="2147484211" r:id="rId40"/>
    <p:sldLayoutId id="2147484212" r:id="rId41"/>
    <p:sldLayoutId id="2147484213" r:id="rId42"/>
    <p:sldLayoutId id="2147484214" r:id="rId43"/>
    <p:sldLayoutId id="2147484215" r:id="rId44"/>
    <p:sldLayoutId id="2147484216" r:id="rId45"/>
    <p:sldLayoutId id="2147484217" r:id="rId46"/>
    <p:sldLayoutId id="2147484218" r:id="rId47"/>
    <p:sldLayoutId id="2147484219" r:id="rId48"/>
    <p:sldLayoutId id="2147484220" r:id="rId4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1.png"/><Relationship Id="rId3" Type="http://schemas.openxmlformats.org/officeDocument/2006/relationships/image" Target="../media/image99.png"/><Relationship Id="rId7" Type="http://schemas.openxmlformats.org/officeDocument/2006/relationships/image" Target="../media/image87.png"/><Relationship Id="rId12" Type="http://schemas.openxmlformats.org/officeDocument/2006/relationships/image" Target="../media/image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86.png"/><Relationship Id="rId11" Type="http://schemas.openxmlformats.org/officeDocument/2006/relationships/image" Target="../media/image89.png"/><Relationship Id="rId5" Type="http://schemas.openxmlformats.org/officeDocument/2006/relationships/image" Target="../media/image85.png"/><Relationship Id="rId10" Type="http://schemas.openxmlformats.org/officeDocument/2006/relationships/image" Target="../media/image93.svg"/><Relationship Id="rId4" Type="http://schemas.openxmlformats.org/officeDocument/2006/relationships/image" Target="../media/image100.svg"/><Relationship Id="rId9" Type="http://schemas.openxmlformats.org/officeDocument/2006/relationships/image" Target="../media/image92.png"/><Relationship Id="rId14" Type="http://schemas.openxmlformats.org/officeDocument/2006/relationships/image" Target="../media/image9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9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98.svg"/><Relationship Id="rId5" Type="http://schemas.openxmlformats.org/officeDocument/2006/relationships/image" Target="../media/image97.png"/><Relationship Id="rId4" Type="http://schemas.openxmlformats.org/officeDocument/2006/relationships/image" Target="../media/image80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3.xml"/><Relationship Id="rId4" Type="http://schemas.openxmlformats.org/officeDocument/2006/relationships/image" Target="../media/image98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gb/azure/ai-studio/how-to/develop/trace-production-sdk" TargetMode="External"/><Relationship Id="rId7" Type="http://schemas.openxmlformats.org/officeDocument/2006/relationships/hyperlink" Target="https://learn.microsoft.com/en-gb/azure/ai-studio/how-to/monitor-quality-safety?tabs=azure-studio#configure-monitoring" TargetMode="External"/><Relationship Id="rId2" Type="http://schemas.openxmlformats.org/officeDocument/2006/relationships/hyperlink" Target="https://learn.microsoft.com/en-us/azure/ai-studio/concepts/evaluation-metrics-built-in?tabs=warning#generation-quality-metrics" TargetMode="External"/><Relationship Id="rId1" Type="http://schemas.openxmlformats.org/officeDocument/2006/relationships/slideLayout" Target="../slideLayouts/slideLayout66.xml"/><Relationship Id="rId6" Type="http://schemas.openxmlformats.org/officeDocument/2006/relationships/hyperlink" Target="https://learn.microsoft.com/en-us/azure/ai-studio/concepts/evaluation-metrics-built-in?tabs=warning" TargetMode="External"/><Relationship Id="rId5" Type="http://schemas.openxmlformats.org/officeDocument/2006/relationships/hyperlink" Target="https://learn.microsoft.com/en-us/azure/ai-studio/how-to/evaluate-flow-results" TargetMode="External"/><Relationship Id="rId4" Type="http://schemas.openxmlformats.org/officeDocument/2006/relationships/hyperlink" Target="https://learn.microsoft.com/en-us/azure/ai-studio/how-to/evaluate-generative-ai-app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new-model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0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microsoft.com/office/2007/relationships/hdphoto" Target="../media/hdphoto2.wdp"/><Relationship Id="rId3" Type="http://schemas.openxmlformats.org/officeDocument/2006/relationships/image" Target="../media/image106.svg"/><Relationship Id="rId7" Type="http://schemas.openxmlformats.org/officeDocument/2006/relationships/image" Target="../media/image110.png"/><Relationship Id="rId12" Type="http://schemas.openxmlformats.org/officeDocument/2006/relationships/image" Target="../media/image115.png"/><Relationship Id="rId17" Type="http://schemas.microsoft.com/office/2007/relationships/hdphoto" Target="../media/hdphoto3.wdp"/><Relationship Id="rId2" Type="http://schemas.openxmlformats.org/officeDocument/2006/relationships/image" Target="../media/image105.png"/><Relationship Id="rId16" Type="http://schemas.openxmlformats.org/officeDocument/2006/relationships/image" Target="../media/image118.png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5" Type="http://schemas.openxmlformats.org/officeDocument/2006/relationships/image" Target="../media/image108.svg"/><Relationship Id="rId15" Type="http://schemas.openxmlformats.org/officeDocument/2006/relationships/image" Target="../media/image117.pn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svg"/><Relationship Id="rId14" Type="http://schemas.openxmlformats.org/officeDocument/2006/relationships/image" Target="../media/image11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svg"/><Relationship Id="rId18" Type="http://schemas.openxmlformats.org/officeDocument/2006/relationships/image" Target="../media/image132.jpeg"/><Relationship Id="rId3" Type="http://schemas.openxmlformats.org/officeDocument/2006/relationships/image" Target="../media/image119.png"/><Relationship Id="rId21" Type="http://schemas.openxmlformats.org/officeDocument/2006/relationships/image" Target="../media/image135.png"/><Relationship Id="rId7" Type="http://schemas.openxmlformats.org/officeDocument/2006/relationships/image" Target="../media/image123.png"/><Relationship Id="rId12" Type="http://schemas.openxmlformats.org/officeDocument/2006/relationships/image" Target="../media/image128.png"/><Relationship Id="rId17" Type="http://schemas.openxmlformats.org/officeDocument/2006/relationships/image" Target="../media/image106.sv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05.png"/><Relationship Id="rId20" Type="http://schemas.openxmlformats.org/officeDocument/2006/relationships/image" Target="../media/image134.svg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22.svg"/><Relationship Id="rId11" Type="http://schemas.openxmlformats.org/officeDocument/2006/relationships/image" Target="../media/image127.svg"/><Relationship Id="rId5" Type="http://schemas.openxmlformats.org/officeDocument/2006/relationships/image" Target="../media/image121.png"/><Relationship Id="rId15" Type="http://schemas.openxmlformats.org/officeDocument/2006/relationships/image" Target="../media/image131.svg"/><Relationship Id="rId23" Type="http://schemas.openxmlformats.org/officeDocument/2006/relationships/image" Target="../media/image137.svg"/><Relationship Id="rId10" Type="http://schemas.openxmlformats.org/officeDocument/2006/relationships/image" Target="../media/image126.png"/><Relationship Id="rId19" Type="http://schemas.openxmlformats.org/officeDocument/2006/relationships/image" Target="../media/image133.png"/><Relationship Id="rId4" Type="http://schemas.openxmlformats.org/officeDocument/2006/relationships/image" Target="../media/image120.svg"/><Relationship Id="rId9" Type="http://schemas.openxmlformats.org/officeDocument/2006/relationships/image" Target="../media/image125.svg"/><Relationship Id="rId14" Type="http://schemas.openxmlformats.org/officeDocument/2006/relationships/image" Target="../media/image130.png"/><Relationship Id="rId22" Type="http://schemas.openxmlformats.org/officeDocument/2006/relationships/image" Target="../media/image1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5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50.png"/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12" Type="http://schemas.openxmlformats.org/officeDocument/2006/relationships/image" Target="../media/image149.svg"/><Relationship Id="rId17" Type="http://schemas.openxmlformats.org/officeDocument/2006/relationships/image" Target="../media/image153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43.png"/><Relationship Id="rId11" Type="http://schemas.openxmlformats.org/officeDocument/2006/relationships/image" Target="../media/image148.png"/><Relationship Id="rId5" Type="http://schemas.openxmlformats.org/officeDocument/2006/relationships/image" Target="../media/image142.png"/><Relationship Id="rId15" Type="http://schemas.openxmlformats.org/officeDocument/2006/relationships/image" Target="../media/image152.png"/><Relationship Id="rId10" Type="http://schemas.openxmlformats.org/officeDocument/2006/relationships/image" Target="../media/image147.sv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1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151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55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52.png"/><Relationship Id="rId5" Type="http://schemas.openxmlformats.org/officeDocument/2006/relationships/image" Target="../media/image154.png"/><Relationship Id="rId4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156.png"/><Relationship Id="rId4" Type="http://schemas.openxmlformats.org/officeDocument/2006/relationships/image" Target="../media/image98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13" Type="http://schemas.openxmlformats.org/officeDocument/2006/relationships/image" Target="../media/image164.png"/><Relationship Id="rId3" Type="http://schemas.openxmlformats.org/officeDocument/2006/relationships/image" Target="../media/image157.png"/><Relationship Id="rId7" Type="http://schemas.openxmlformats.org/officeDocument/2006/relationships/image" Target="../media/image161.png"/><Relationship Id="rId12" Type="http://schemas.openxmlformats.org/officeDocument/2006/relationships/image" Target="../media/image16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0.svg"/><Relationship Id="rId11" Type="http://schemas.openxmlformats.org/officeDocument/2006/relationships/image" Target="../media/image98.svg"/><Relationship Id="rId5" Type="http://schemas.openxmlformats.org/officeDocument/2006/relationships/image" Target="../media/image159.png"/><Relationship Id="rId10" Type="http://schemas.openxmlformats.org/officeDocument/2006/relationships/image" Target="../media/image97.png"/><Relationship Id="rId4" Type="http://schemas.openxmlformats.org/officeDocument/2006/relationships/image" Target="../media/image158.png"/><Relationship Id="rId9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1.png"/><Relationship Id="rId18" Type="http://schemas.openxmlformats.org/officeDocument/2006/relationships/image" Target="../media/image176.svg"/><Relationship Id="rId26" Type="http://schemas.openxmlformats.org/officeDocument/2006/relationships/image" Target="../media/image184.svg"/><Relationship Id="rId39" Type="http://schemas.openxmlformats.org/officeDocument/2006/relationships/image" Target="../media/image111.png"/><Relationship Id="rId21" Type="http://schemas.openxmlformats.org/officeDocument/2006/relationships/image" Target="../media/image179.png"/><Relationship Id="rId34" Type="http://schemas.openxmlformats.org/officeDocument/2006/relationships/image" Target="../media/image190.svg"/><Relationship Id="rId42" Type="http://schemas.openxmlformats.org/officeDocument/2006/relationships/image" Target="../media/image129.svg"/><Relationship Id="rId7" Type="http://schemas.openxmlformats.org/officeDocument/2006/relationships/image" Target="../media/image167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174.svg"/><Relationship Id="rId20" Type="http://schemas.openxmlformats.org/officeDocument/2006/relationships/image" Target="../media/image178.svg"/><Relationship Id="rId29" Type="http://schemas.openxmlformats.org/officeDocument/2006/relationships/image" Target="../media/image187.png"/><Relationship Id="rId41" Type="http://schemas.openxmlformats.org/officeDocument/2006/relationships/image" Target="../media/image128.png"/><Relationship Id="rId1" Type="http://schemas.openxmlformats.org/officeDocument/2006/relationships/slideLayout" Target="../slideLayouts/slideLayout123.xml"/><Relationship Id="rId6" Type="http://schemas.microsoft.com/office/2007/relationships/hdphoto" Target="../media/hdphoto5.wdp"/><Relationship Id="rId11" Type="http://schemas.openxmlformats.org/officeDocument/2006/relationships/image" Target="../media/image170.png"/><Relationship Id="rId24" Type="http://schemas.openxmlformats.org/officeDocument/2006/relationships/image" Target="../media/image182.png"/><Relationship Id="rId32" Type="http://schemas.openxmlformats.org/officeDocument/2006/relationships/image" Target="../media/image137.svg"/><Relationship Id="rId37" Type="http://schemas.openxmlformats.org/officeDocument/2006/relationships/image" Target="../media/image193.png"/><Relationship Id="rId40" Type="http://schemas.openxmlformats.org/officeDocument/2006/relationships/image" Target="../media/image112.svg"/><Relationship Id="rId5" Type="http://schemas.openxmlformats.org/officeDocument/2006/relationships/image" Target="../media/image166.png"/><Relationship Id="rId15" Type="http://schemas.openxmlformats.org/officeDocument/2006/relationships/image" Target="../media/image173.png"/><Relationship Id="rId23" Type="http://schemas.openxmlformats.org/officeDocument/2006/relationships/image" Target="../media/image181.svg"/><Relationship Id="rId28" Type="http://schemas.openxmlformats.org/officeDocument/2006/relationships/image" Target="../media/image186.svg"/><Relationship Id="rId36" Type="http://schemas.openxmlformats.org/officeDocument/2006/relationships/image" Target="../media/image192.svg"/><Relationship Id="rId10" Type="http://schemas.microsoft.com/office/2007/relationships/hdphoto" Target="../media/hdphoto6.wdp"/><Relationship Id="rId19" Type="http://schemas.openxmlformats.org/officeDocument/2006/relationships/image" Target="../media/image177.png"/><Relationship Id="rId31" Type="http://schemas.openxmlformats.org/officeDocument/2006/relationships/image" Target="../media/image136.png"/><Relationship Id="rId44" Type="http://schemas.openxmlformats.org/officeDocument/2006/relationships/image" Target="../media/image131.svg"/><Relationship Id="rId4" Type="http://schemas.microsoft.com/office/2007/relationships/hdphoto" Target="../media/hdphoto4.wdp"/><Relationship Id="rId9" Type="http://schemas.openxmlformats.org/officeDocument/2006/relationships/image" Target="../media/image169.png"/><Relationship Id="rId14" Type="http://schemas.openxmlformats.org/officeDocument/2006/relationships/image" Target="../media/image172.png"/><Relationship Id="rId22" Type="http://schemas.openxmlformats.org/officeDocument/2006/relationships/image" Target="../media/image180.png"/><Relationship Id="rId27" Type="http://schemas.openxmlformats.org/officeDocument/2006/relationships/image" Target="../media/image185.png"/><Relationship Id="rId30" Type="http://schemas.openxmlformats.org/officeDocument/2006/relationships/image" Target="../media/image188.svg"/><Relationship Id="rId35" Type="http://schemas.openxmlformats.org/officeDocument/2006/relationships/image" Target="../media/image191.png"/><Relationship Id="rId43" Type="http://schemas.openxmlformats.org/officeDocument/2006/relationships/image" Target="../media/image130.png"/><Relationship Id="rId8" Type="http://schemas.openxmlformats.org/officeDocument/2006/relationships/image" Target="../media/image168.png"/><Relationship Id="rId3" Type="http://schemas.openxmlformats.org/officeDocument/2006/relationships/image" Target="../media/image165.png"/><Relationship Id="rId12" Type="http://schemas.microsoft.com/office/2007/relationships/hdphoto" Target="../media/hdphoto7.wdp"/><Relationship Id="rId17" Type="http://schemas.openxmlformats.org/officeDocument/2006/relationships/image" Target="../media/image175.png"/><Relationship Id="rId25" Type="http://schemas.openxmlformats.org/officeDocument/2006/relationships/image" Target="../media/image183.png"/><Relationship Id="rId33" Type="http://schemas.openxmlformats.org/officeDocument/2006/relationships/image" Target="../media/image189.png"/><Relationship Id="rId38" Type="http://schemas.microsoft.com/office/2007/relationships/hdphoto" Target="../media/hdphoto8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-Samples/ai-hub-gateway-solution-accelerator" TargetMode="External"/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80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98.sv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88.png"/><Relationship Id="rId11" Type="http://schemas.openxmlformats.org/officeDocument/2006/relationships/image" Target="../media/image93.svg"/><Relationship Id="rId5" Type="http://schemas.openxmlformats.org/officeDocument/2006/relationships/image" Target="../media/image87.png"/><Relationship Id="rId15" Type="http://schemas.openxmlformats.org/officeDocument/2006/relationships/image" Target="../media/image97.pn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Relationship Id="rId14" Type="http://schemas.openxmlformats.org/officeDocument/2006/relationships/image" Target="../media/image9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FCDF3B1-1C82-2276-1D79-00D1417AA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443163"/>
            <a:ext cx="4978400" cy="2462213"/>
          </a:xfrm>
        </p:spPr>
        <p:txBody>
          <a:bodyPr/>
          <a:lstStyle/>
          <a:p>
            <a:r>
              <a:rPr lang="en-US" noProof="0" dirty="0"/>
              <a:t>Build unique</a:t>
            </a:r>
            <a:r>
              <a:rPr lang="en-US" dirty="0"/>
              <a:t> </a:t>
            </a:r>
            <a:br>
              <a:rPr lang="en-US" noProof="0" dirty="0"/>
            </a:br>
            <a:r>
              <a:rPr lang="en-US" noProof="0" dirty="0" err="1"/>
              <a:t>GenAI</a:t>
            </a:r>
            <a:r>
              <a:rPr lang="en-US" noProof="0" dirty="0"/>
              <a:t> experiences</a:t>
            </a:r>
            <a:r>
              <a:rPr lang="en-US" dirty="0"/>
              <a:t> </a:t>
            </a:r>
            <a:br>
              <a:rPr lang="en-US" noProof="0" dirty="0"/>
            </a:br>
            <a:r>
              <a:rPr lang="en-US" noProof="0" dirty="0"/>
              <a:t>that </a:t>
            </a:r>
            <a:r>
              <a:rPr lang="en-US" dirty="0"/>
              <a:t>scale with your data</a:t>
            </a:r>
          </a:p>
        </p:txBody>
      </p:sp>
    </p:spTree>
    <p:extLst>
      <p:ext uri="{BB962C8B-B14F-4D97-AF65-F5344CB8AC3E}">
        <p14:creationId xmlns:p14="http://schemas.microsoft.com/office/powerpoint/2010/main" val="175994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E1B7052-2283-5227-91F5-016F68D46A7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860877" y="5147038"/>
            <a:ext cx="4460773" cy="90948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0">
                      <a:srgbClr val="D59ED7"/>
                    </a:gs>
                    <a:gs pos="80000">
                      <a:srgbClr val="8DC8E8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Microsoft Azure AI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Where innovators are creating the futur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Sans Text Semibold"/>
              <a:ea typeface="+mj-ea"/>
              <a:cs typeface="+mj-cs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0B9EFE1E-C63B-6729-7362-F9DAB06745CE}"/>
              </a:ext>
            </a:extLst>
          </p:cNvPr>
          <p:cNvSpPr txBox="1">
            <a:spLocks/>
          </p:cNvSpPr>
          <p:nvPr/>
        </p:nvSpPr>
        <p:spPr>
          <a:xfrm>
            <a:off x="5118425" y="803430"/>
            <a:ext cx="1955151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OpenAI Servic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0D2D145-7BC7-B748-86CA-EF5177389E76}"/>
              </a:ext>
            </a:extLst>
          </p:cNvPr>
          <p:cNvSpPr txBox="1">
            <a:spLocks/>
          </p:cNvSpPr>
          <p:nvPr/>
        </p:nvSpPr>
        <p:spPr>
          <a:xfrm>
            <a:off x="2994756" y="1428645"/>
            <a:ext cx="1422184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Vis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07C4AE8-A744-2377-C78B-4298C9261B8B}"/>
              </a:ext>
            </a:extLst>
          </p:cNvPr>
          <p:cNvSpPr txBox="1">
            <a:spLocks/>
          </p:cNvSpPr>
          <p:nvPr/>
        </p:nvSpPr>
        <p:spPr>
          <a:xfrm>
            <a:off x="7718842" y="1428645"/>
            <a:ext cx="1465466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Search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743FC20C-A987-82F1-32E4-4B2B1EFF286C}"/>
              </a:ext>
            </a:extLst>
          </p:cNvPr>
          <p:cNvSpPr txBox="1">
            <a:spLocks/>
          </p:cNvSpPr>
          <p:nvPr/>
        </p:nvSpPr>
        <p:spPr>
          <a:xfrm>
            <a:off x="1832586" y="2365301"/>
            <a:ext cx="1511952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Speech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6B6D28EF-3ADA-FC51-F225-F6B9F9AAFB25}"/>
              </a:ext>
            </a:extLst>
          </p:cNvPr>
          <p:cNvSpPr txBox="1">
            <a:spLocks/>
          </p:cNvSpPr>
          <p:nvPr/>
        </p:nvSpPr>
        <p:spPr>
          <a:xfrm>
            <a:off x="8870585" y="2365301"/>
            <a:ext cx="2767681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Document Intelligenc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FE7545C-189C-2FD2-6F90-85FDAD3231A9}"/>
              </a:ext>
            </a:extLst>
          </p:cNvPr>
          <p:cNvSpPr txBox="1">
            <a:spLocks/>
          </p:cNvSpPr>
          <p:nvPr/>
        </p:nvSpPr>
        <p:spPr>
          <a:xfrm>
            <a:off x="866291" y="3528673"/>
            <a:ext cx="1648593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Translate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61C4A6F-D25C-C032-D196-E8AF5A7FDD5C}"/>
              </a:ext>
            </a:extLst>
          </p:cNvPr>
          <p:cNvSpPr txBox="1">
            <a:spLocks/>
          </p:cNvSpPr>
          <p:nvPr/>
        </p:nvSpPr>
        <p:spPr>
          <a:xfrm>
            <a:off x="9565422" y="3528673"/>
            <a:ext cx="2131289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Content Safety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F236C9D4-E85B-C981-E305-95E2B1D035F1}"/>
              </a:ext>
            </a:extLst>
          </p:cNvPr>
          <p:cNvSpPr txBox="1">
            <a:spLocks/>
          </p:cNvSpPr>
          <p:nvPr/>
        </p:nvSpPr>
        <p:spPr>
          <a:xfrm>
            <a:off x="598141" y="4726685"/>
            <a:ext cx="1718740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AI Language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6E26E80E-B4ED-ABF6-5FE4-0F3580243531}"/>
              </a:ext>
            </a:extLst>
          </p:cNvPr>
          <p:cNvSpPr txBox="1">
            <a:spLocks/>
          </p:cNvSpPr>
          <p:nvPr/>
        </p:nvSpPr>
        <p:spPr>
          <a:xfrm>
            <a:off x="9800449" y="4726685"/>
            <a:ext cx="2153154" cy="2862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Azure Machine Learning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197117D7-8CA5-1F31-1080-455B9AB86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714655" y="1532910"/>
            <a:ext cx="6762690" cy="6762688"/>
          </a:xfrm>
          <a:prstGeom prst="arc">
            <a:avLst>
              <a:gd name="adj1" fmla="val 8695534"/>
              <a:gd name="adj2" fmla="val 2110012"/>
            </a:avLst>
          </a:prstGeom>
          <a:noFill/>
          <a:ln>
            <a:gradFill>
              <a:gsLst>
                <a:gs pos="50000">
                  <a:srgbClr val="657076"/>
                </a:gs>
                <a:gs pos="100000">
                  <a:srgbClr val="657076">
                    <a:alpha val="0"/>
                  </a:srgbClr>
                </a:gs>
              </a:gsLst>
              <a:lin ang="5400000" scaled="1"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6E2105D-858E-C5CF-6A12-4C470CB4B8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245435" y="1063688"/>
            <a:ext cx="7701132" cy="4388830"/>
            <a:chOff x="2245435" y="1353139"/>
            <a:chExt cx="7701132" cy="438883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37C9266-9AD7-8726-52DD-E4BB4393DA3A}"/>
                </a:ext>
              </a:extLst>
            </p:cNvPr>
            <p:cNvSpPr/>
            <p:nvPr/>
          </p:nvSpPr>
          <p:spPr bwMode="auto">
            <a:xfrm rot="5400000">
              <a:off x="5557737" y="1353139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806B8A5-FF09-100D-768B-6180F7ACA47C}"/>
                </a:ext>
              </a:extLst>
            </p:cNvPr>
            <p:cNvSpPr/>
            <p:nvPr/>
          </p:nvSpPr>
          <p:spPr bwMode="auto">
            <a:xfrm rot="17529524" flipH="1">
              <a:off x="6807051" y="1597777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D22E79C-6805-1F6E-5E29-47DD21544A42}"/>
                </a:ext>
              </a:extLst>
            </p:cNvPr>
            <p:cNvSpPr/>
            <p:nvPr/>
          </p:nvSpPr>
          <p:spPr bwMode="auto">
            <a:xfrm rot="18903222" flipH="1">
              <a:off x="7902083" y="2325486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05A3E4D-6029-F961-4E39-E1DCC89D6360}"/>
                </a:ext>
              </a:extLst>
            </p:cNvPr>
            <p:cNvSpPr/>
            <p:nvPr/>
          </p:nvSpPr>
          <p:spPr bwMode="auto">
            <a:xfrm rot="20247093" flipH="1">
              <a:off x="8616833" y="3395290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1A7CFAD-8FD3-9949-2737-4DE22ADB9AA6}"/>
                </a:ext>
              </a:extLst>
            </p:cNvPr>
            <p:cNvSpPr/>
            <p:nvPr/>
          </p:nvSpPr>
          <p:spPr bwMode="auto">
            <a:xfrm>
              <a:off x="2245435" y="4665441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AA2B1B-1568-1B6A-07A3-9F99D7575B56}"/>
                </a:ext>
              </a:extLst>
            </p:cNvPr>
            <p:cNvSpPr/>
            <p:nvPr/>
          </p:nvSpPr>
          <p:spPr bwMode="auto">
            <a:xfrm>
              <a:off x="8870040" y="4665441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55810E11-F453-CD7F-5B8D-3D7C0E51D82A}"/>
                </a:ext>
              </a:extLst>
            </p:cNvPr>
            <p:cNvSpPr/>
            <p:nvPr/>
          </p:nvSpPr>
          <p:spPr bwMode="auto">
            <a:xfrm rot="4070476">
              <a:off x="4308424" y="1597777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2428389-FCD4-1A12-6E19-6C49E1AA8C55}"/>
                </a:ext>
              </a:extLst>
            </p:cNvPr>
            <p:cNvSpPr/>
            <p:nvPr/>
          </p:nvSpPr>
          <p:spPr bwMode="auto">
            <a:xfrm rot="2696778">
              <a:off x="3213392" y="2325486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EBF3FA0-194C-B1D3-A06C-3890E00B990B}"/>
                </a:ext>
              </a:extLst>
            </p:cNvPr>
            <p:cNvSpPr/>
            <p:nvPr/>
          </p:nvSpPr>
          <p:spPr bwMode="auto">
            <a:xfrm rot="1352907">
              <a:off x="2498642" y="3395290"/>
              <a:ext cx="1076527" cy="1076528"/>
            </a:xfrm>
            <a:prstGeom prst="ellipse">
              <a:avLst/>
            </a:prstGeom>
            <a:solidFill>
              <a:srgbClr val="091F2C"/>
            </a:solidFill>
            <a:ln>
              <a:noFill/>
              <a:headEnd type="none" w="med" len="med"/>
              <a:tailEnd type="none" w="med" len="med"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pic>
        <p:nvPicPr>
          <p:cNvPr id="35" name="Graphic 34" descr="Microsoft Azure AI logo">
            <a:extLst>
              <a:ext uri="{FF2B5EF4-FFF2-40B4-BE49-F238E27FC236}">
                <a16:creationId xmlns:a16="http://schemas.microsoft.com/office/drawing/2014/main" id="{693F91BE-DEE8-758D-7199-4F4F96481B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46230" y="2849068"/>
            <a:ext cx="1890068" cy="189006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8E5EF0B-170F-0CF3-5CD1-E249E109A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66586" y="1428903"/>
            <a:ext cx="761493" cy="76149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C6F1CD2-4583-B66D-EEC9-163D3671D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3297" y="2177700"/>
            <a:ext cx="761493" cy="76149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FDE2796-C643-A804-84D6-47CF136FFD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25366" y="3263356"/>
            <a:ext cx="761493" cy="76149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489BCC4-EDA5-99D6-D5C7-64F3B70834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1994" y="4511737"/>
            <a:ext cx="761493" cy="761493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9AE29119-6C03-4223-8859-735CF4B3A1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92773" y="1278752"/>
            <a:ext cx="606455" cy="60645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85ACAA7-F499-FC82-49AE-48D62BD46F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339" y="1428903"/>
            <a:ext cx="761493" cy="76149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3EDAD96D-30A9-72E1-0F54-B34B36D49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4246" y="2177700"/>
            <a:ext cx="761493" cy="761493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FA5E381-7010-F7A5-5160-570F6B025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74349" y="3288709"/>
            <a:ext cx="761493" cy="76149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4729D80-BAA8-AEFF-625A-6CF11313C7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57645" y="4511738"/>
            <a:ext cx="761493" cy="761493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DB81281-4A0D-00CB-BE4E-49445C3C16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3901" y="6522926"/>
            <a:ext cx="10548262" cy="0"/>
          </a:xfrm>
          <a:prstGeom prst="line">
            <a:avLst/>
          </a:prstGeom>
          <a:ln w="15875"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B154E51-926B-69BC-B4EF-B00400740484}"/>
              </a:ext>
            </a:extLst>
          </p:cNvPr>
          <p:cNvSpPr txBox="1">
            <a:spLocks/>
          </p:cNvSpPr>
          <p:nvPr/>
        </p:nvSpPr>
        <p:spPr>
          <a:xfrm>
            <a:off x="1746806" y="6399823"/>
            <a:ext cx="8446065" cy="24929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67229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96386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8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9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everage out-of-the-box and customizable APIs and multimodal models</a:t>
            </a:r>
          </a:p>
        </p:txBody>
      </p:sp>
    </p:spTree>
    <p:extLst>
      <p:ext uri="{BB962C8B-B14F-4D97-AF65-F5344CB8AC3E}">
        <p14:creationId xmlns:p14="http://schemas.microsoft.com/office/powerpoint/2010/main" val="19125664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4.07407E-6 L -4.58333E-6 0.05255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16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3" grpId="1"/>
      <p:bldP spid="53" grpId="0"/>
      <p:bldP spid="37" grpId="0"/>
      <p:bldP spid="45" grpId="0"/>
      <p:bldP spid="39" grpId="0"/>
      <p:bldP spid="47" grpId="0"/>
      <p:bldP spid="41" grpId="0"/>
      <p:bldP spid="49" grpId="0"/>
      <p:bldP spid="43" grpId="0"/>
      <p:bldP spid="51" grpId="0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mpowering world's worker">
            <a:extLst>
              <a:ext uri="{FF2B5EF4-FFF2-40B4-BE49-F238E27FC236}">
                <a16:creationId xmlns:a16="http://schemas.microsoft.com/office/drawing/2014/main" id="{AED3A366-582C-448F-3817-0F7EDFCC47D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custGeom>
            <a:avLst/>
            <a:gdLst>
              <a:gd name="connsiteX0" fmla="*/ 0 w 15936820"/>
              <a:gd name="connsiteY0" fmla="*/ 0 h 1121397"/>
              <a:gd name="connsiteX1" fmla="*/ 15936820 w 15936820"/>
              <a:gd name="connsiteY1" fmla="*/ 0 h 1121397"/>
              <a:gd name="connsiteX2" fmla="*/ 15936820 w 15936820"/>
              <a:gd name="connsiteY2" fmla="*/ 1121397 h 1121397"/>
              <a:gd name="connsiteX3" fmla="*/ 0 w 15936820"/>
              <a:gd name="connsiteY3" fmla="*/ 1121397 h 1121397"/>
              <a:gd name="connsiteX4" fmla="*/ 0 w 15936820"/>
              <a:gd name="connsiteY4" fmla="*/ 0 h 112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6820" h="1121397">
                <a:moveTo>
                  <a:pt x="0" y="0"/>
                </a:moveTo>
                <a:lnTo>
                  <a:pt x="15936820" y="0"/>
                </a:lnTo>
                <a:lnTo>
                  <a:pt x="15936820" y="1121397"/>
                </a:lnTo>
                <a:lnTo>
                  <a:pt x="0" y="112139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67" fontAlgn="base">
              <a:spcAft>
                <a:spcPct val="0"/>
              </a:spcAft>
              <a:tabLst>
                <a:tab pos="920668" algn="l"/>
              </a:tabLst>
              <a:defRPr/>
            </a:pPr>
            <a:r>
              <a:rPr lang="en-CA" sz="4000" spc="0" dirty="0">
                <a:gradFill>
                  <a:gsLst>
                    <a:gs pos="94253">
                      <a:srgbClr val="FFFFFF"/>
                    </a:gs>
                    <a:gs pos="78736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rPr>
              <a:t>Copilot Tech Stack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A8AA871-A2E1-9DC1-7C64-C9747547B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764611" y="3537704"/>
            <a:ext cx="4662779" cy="2047965"/>
          </a:xfrm>
          <a:prstGeom prst="roundRect">
            <a:avLst>
              <a:gd name="adj" fmla="val 8367"/>
            </a:avLst>
          </a:prstGeom>
          <a:solidFill>
            <a:srgbClr val="3A4953"/>
          </a:solidFill>
          <a:ln>
            <a:noFill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Small Semibol" pitchFamily="2" charset="0"/>
              <a:ea typeface="+mn-ea"/>
              <a:cs typeface="Segoe UI" pitchFamily="34" charset="0"/>
            </a:endParaRPr>
          </a:p>
        </p:txBody>
      </p:sp>
      <p:cxnSp>
        <p:nvCxnSpPr>
          <p:cNvPr id="41" name="!!Straight Arrow Connector 40">
            <a:extLst>
              <a:ext uri="{FF2B5EF4-FFF2-40B4-BE49-F238E27FC236}">
                <a16:creationId xmlns:a16="http://schemas.microsoft.com/office/drawing/2014/main" id="{21A1EEFE-89CA-BA99-C74A-C2959C8CC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47465" y="5859781"/>
            <a:ext cx="4297071" cy="0"/>
          </a:xfrm>
          <a:prstGeom prst="straightConnector1">
            <a:avLst/>
          </a:prstGeom>
          <a:noFill/>
          <a:ln w="25400" cap="rnd">
            <a:solidFill>
              <a:srgbClr val="657076"/>
            </a:solidFill>
            <a:prstDash val="solid"/>
            <a:round/>
            <a:headEnd type="arrow" w="lg" len="sm"/>
            <a:tailEnd type="arrow" w="lg" len="sm"/>
          </a:ln>
          <a:effectLst/>
        </p:spPr>
      </p:cxnSp>
      <p:cxnSp>
        <p:nvCxnSpPr>
          <p:cNvPr id="160" name="!!Straight Arrow Connector 40">
            <a:extLst>
              <a:ext uri="{FF2B5EF4-FFF2-40B4-BE49-F238E27FC236}">
                <a16:creationId xmlns:a16="http://schemas.microsoft.com/office/drawing/2014/main" id="{2CA1FD2F-E529-9EFE-33AF-4D1FDF422F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47465" y="5859781"/>
            <a:ext cx="4297071" cy="0"/>
          </a:xfrm>
          <a:prstGeom prst="straightConnector1">
            <a:avLst/>
          </a:prstGeom>
          <a:noFill/>
          <a:ln w="25400" cap="rnd">
            <a:gradFill flip="none" rotWithShape="1">
              <a:gsLst>
                <a:gs pos="10000">
                  <a:srgbClr val="0078D4"/>
                </a:gs>
                <a:gs pos="90000">
                  <a:srgbClr val="399A91"/>
                </a:gs>
              </a:gsLst>
              <a:lin ang="10800000" scaled="1"/>
              <a:tileRect/>
            </a:gradFill>
            <a:prstDash val="solid"/>
            <a:round/>
            <a:headEnd type="arrow" w="lg" len="sm"/>
            <a:tailEnd type="arrow" w="lg" len="sm"/>
          </a:ln>
          <a:effectLst/>
        </p:spPr>
      </p:cxnSp>
      <p:sp>
        <p:nvSpPr>
          <p:cNvPr id="37" name="Rounded Rectangle 64">
            <a:extLst>
              <a:ext uri="{FF2B5EF4-FFF2-40B4-BE49-F238E27FC236}">
                <a16:creationId xmlns:a16="http://schemas.microsoft.com/office/drawing/2014/main" id="{53CF5DA9-F378-218F-9881-C5DC2AA25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53189" y="1601990"/>
            <a:ext cx="5485622" cy="4662779"/>
          </a:xfrm>
          <a:prstGeom prst="roundRect">
            <a:avLst>
              <a:gd name="adj" fmla="val 3815"/>
            </a:avLst>
          </a:prstGeom>
          <a:noFill/>
          <a:ln w="19050" cap="rnd">
            <a:solidFill>
              <a:srgbClr val="65707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7" name="Rounded Rectangle 64">
            <a:extLst>
              <a:ext uri="{FF2B5EF4-FFF2-40B4-BE49-F238E27FC236}">
                <a16:creationId xmlns:a16="http://schemas.microsoft.com/office/drawing/2014/main" id="{9B69BAB8-B92B-3104-D8DD-B06E7B9FC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53189" y="1601990"/>
            <a:ext cx="5485622" cy="4662779"/>
          </a:xfrm>
          <a:prstGeom prst="roundRect">
            <a:avLst>
              <a:gd name="adj" fmla="val 3815"/>
            </a:avLst>
          </a:prstGeom>
          <a:noFill/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64A6405-B5B1-0FCE-7520-0DEE49A01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764611" y="2049963"/>
            <a:ext cx="4662779" cy="1042268"/>
          </a:xfrm>
          <a:prstGeom prst="roundRect">
            <a:avLst>
              <a:gd name="adj" fmla="val 16652"/>
            </a:avLst>
          </a:prstGeom>
          <a:solidFill>
            <a:srgbClr val="3A4953"/>
          </a:solidFill>
          <a:ln>
            <a:noFill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Small Semibol" pitchFamily="2" charset="0"/>
              <a:ea typeface="+mn-ea"/>
              <a:cs typeface="Segoe UI" pitchFamily="34" charset="0"/>
            </a:endParaRPr>
          </a:p>
        </p:txBody>
      </p:sp>
      <p:sp>
        <p:nvSpPr>
          <p:cNvPr id="9" name="Rectangle: Rounded Corners 36">
            <a:extLst>
              <a:ext uri="{FF2B5EF4-FFF2-40B4-BE49-F238E27FC236}">
                <a16:creationId xmlns:a16="http://schemas.microsoft.com/office/drawing/2014/main" id="{3386B711-95E8-C851-A9B5-4A0F38C226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2571097"/>
            <a:ext cx="2331390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Microsoft Copilot</a:t>
            </a:r>
          </a:p>
        </p:txBody>
      </p:sp>
      <p:sp>
        <p:nvSpPr>
          <p:cNvPr id="5" name="Rectangle: Rounded Corners 36">
            <a:extLst>
              <a:ext uri="{FF2B5EF4-FFF2-40B4-BE49-F238E27FC236}">
                <a16:creationId xmlns:a16="http://schemas.microsoft.com/office/drawing/2014/main" id="{C585A709-E626-6679-453B-84B7B8559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2571097"/>
            <a:ext cx="2331390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Your copilots</a:t>
            </a:r>
          </a:p>
        </p:txBody>
      </p:sp>
      <p:sp>
        <p:nvSpPr>
          <p:cNvPr id="8" name="Rectangle: Rounded Corners 36">
            <a:extLst>
              <a:ext uri="{FF2B5EF4-FFF2-40B4-BE49-F238E27FC236}">
                <a16:creationId xmlns:a16="http://schemas.microsoft.com/office/drawing/2014/main" id="{5FFEC4A3-BA3F-0593-C588-564A9862B5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5170" y="2049964"/>
            <a:ext cx="3181661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Copilot extensibility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9DBE41D-7240-A1BA-BD87-041C6143E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764611" y="2571097"/>
            <a:ext cx="4662779" cy="521134"/>
            <a:chOff x="3672840" y="2577849"/>
            <a:chExt cx="4846320" cy="3657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69C991D-2CE0-BD70-8535-052F4F308B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2577849"/>
              <a:ext cx="484632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C9EDB29-2554-0747-7B0B-E55B570AF7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577849"/>
              <a:ext cx="0" cy="36576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F667C45-DE74-367C-CBF2-74B9944C7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4561685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B475553-1E94-D8EC-4CF5-8FC908732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5064534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D6572A5-C6FD-C186-2D02-7CACBDA3A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4058836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7F6D498F-B9C8-DE20-0F2A-7E62A29939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16592" y="1478996"/>
            <a:ext cx="2358818" cy="443240"/>
          </a:xfrm>
          <a:prstGeom prst="rect">
            <a:avLst/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ounded Rectangle 62">
            <a:extLst>
              <a:ext uri="{FF2B5EF4-FFF2-40B4-BE49-F238E27FC236}">
                <a16:creationId xmlns:a16="http://schemas.microsoft.com/office/drawing/2014/main" id="{96BFF257-4DE7-6814-D149-036AC6BCD7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16592" y="1379397"/>
            <a:ext cx="2358818" cy="437058"/>
          </a:xfrm>
          <a:prstGeom prst="roundRect">
            <a:avLst>
              <a:gd name="adj" fmla="val 50000"/>
            </a:avLst>
          </a:prstGeom>
          <a:solidFill>
            <a:srgbClr val="3A4953"/>
          </a:solidFill>
          <a:ln w="44450" cap="rnd">
            <a:noFill/>
            <a:headEnd type="none" w="lg" len="med"/>
            <a:tailEnd type="none" w="lg" len="med"/>
          </a:ln>
          <a:effectLst>
            <a:outerShdw blurRad="63500" dist="63500" dir="2700000" algn="ctr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290">
                      <a:srgbClr val="FFFFFF"/>
                    </a:gs>
                    <a:gs pos="14504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Open Sans" panose="020B0606030504020204" pitchFamily="34" charset="0"/>
                <a:cs typeface="Open Sans" panose="020B0606030504020204" pitchFamily="34" charset="0"/>
              </a:rPr>
              <a:t>AI safety and security</a:t>
            </a:r>
          </a:p>
        </p:txBody>
      </p:sp>
      <p:grpSp>
        <p:nvGrpSpPr>
          <p:cNvPr id="161" name="!!Group 13">
            <a:extLst>
              <a:ext uri="{FF2B5EF4-FFF2-40B4-BE49-F238E27FC236}">
                <a16:creationId xmlns:a16="http://schemas.microsoft.com/office/drawing/2014/main" id="{6443990E-538D-FD4A-48D0-274C938BCD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5032" y="3200013"/>
            <a:ext cx="161937" cy="245837"/>
            <a:chOff x="24240907" y="14944739"/>
            <a:chExt cx="489402" cy="892452"/>
          </a:xfrm>
        </p:grpSpPr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BA5687A2-145E-D9DA-5828-4122EF8B34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240907" y="14944739"/>
              <a:ext cx="0" cy="548641"/>
            </a:xfrm>
            <a:prstGeom prst="straightConnector1">
              <a:avLst/>
            </a:prstGeom>
            <a:solidFill>
              <a:srgbClr val="3A4953"/>
            </a:solidFill>
            <a:ln w="25400" cap="rnd">
              <a:solidFill>
                <a:srgbClr val="657076"/>
              </a:soli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Arrow Connector 162">
              <a:extLst>
                <a:ext uri="{FF2B5EF4-FFF2-40B4-BE49-F238E27FC236}">
                  <a16:creationId xmlns:a16="http://schemas.microsoft.com/office/drawing/2014/main" id="{D571C2F5-3C65-BB93-7346-874DD48116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730309" y="15288548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solidFill>
                <a:srgbClr val="657076"/>
              </a:soli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!!Group 13">
            <a:extLst>
              <a:ext uri="{FF2B5EF4-FFF2-40B4-BE49-F238E27FC236}">
                <a16:creationId xmlns:a16="http://schemas.microsoft.com/office/drawing/2014/main" id="{987BD6F6-EE57-2268-8DB7-8171148B5F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5032" y="3200013"/>
            <a:ext cx="161937" cy="245837"/>
            <a:chOff x="24240907" y="14944739"/>
            <a:chExt cx="489402" cy="892452"/>
          </a:xfrm>
        </p:grpSpPr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145FD2E8-0E0C-119E-5888-CB1E17B99B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240907" y="14944739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gradFill>
                <a:gsLst>
                  <a:gs pos="0">
                    <a:srgbClr val="5B5BCC"/>
                  </a:gs>
                  <a:gs pos="100000">
                    <a:srgbClr val="7652CA"/>
                  </a:gs>
                </a:gsLst>
                <a:lin ang="5400000" scaled="1"/>
              </a:gra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39E38EDA-4FE6-276B-39BE-CAD85328E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730309" y="15288548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gradFill>
                <a:gsLst>
                  <a:gs pos="0">
                    <a:srgbClr val="5B5BCC"/>
                  </a:gs>
                  <a:gs pos="100000">
                    <a:srgbClr val="7652CA"/>
                  </a:gs>
                </a:gsLst>
                <a:lin ang="5400000" scaled="1"/>
              </a:gra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: Rounded Corners 36">
            <a:extLst>
              <a:ext uri="{FF2B5EF4-FFF2-40B4-BE49-F238E27FC236}">
                <a16:creationId xmlns:a16="http://schemas.microsoft.com/office/drawing/2014/main" id="{624F9783-3A03-CE1C-B4D7-3E372B5CE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4058836"/>
            <a:ext cx="4662779" cy="502849"/>
          </a:xfrm>
          <a:prstGeom prst="roundRect">
            <a:avLst>
              <a:gd name="adj" fmla="val 34091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Your data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gradFill>
                <a:gsLst>
                  <a:gs pos="2797">
                    <a:srgbClr val="FFFFFF"/>
                  </a:gs>
                  <a:gs pos="15000">
                    <a:srgbClr val="FFFFFF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Display Semib"/>
              <a:ea typeface="+mn-ea"/>
              <a:cs typeface="Segoe UI" pitchFamily="34" charset="0"/>
            </a:endParaRPr>
          </a:p>
        </p:txBody>
      </p:sp>
      <p:sp>
        <p:nvSpPr>
          <p:cNvPr id="21" name="Rectangle: Rounded Corners 36">
            <a:extLst>
              <a:ext uri="{FF2B5EF4-FFF2-40B4-BE49-F238E27FC236}">
                <a16:creationId xmlns:a16="http://schemas.microsoft.com/office/drawing/2014/main" id="{989A552A-7A41-915A-5E19-BF0BBFA36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4561685"/>
            <a:ext cx="4662779" cy="502849"/>
          </a:xfrm>
          <a:prstGeom prst="roundRect">
            <a:avLst>
              <a:gd name="adj" fmla="val 34849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Foundation models</a:t>
            </a:r>
          </a:p>
        </p:txBody>
      </p:sp>
      <p:sp>
        <p:nvSpPr>
          <p:cNvPr id="23" name="Rectangle: Rounded Corners 36">
            <a:extLst>
              <a:ext uri="{FF2B5EF4-FFF2-40B4-BE49-F238E27FC236}">
                <a16:creationId xmlns:a16="http://schemas.microsoft.com/office/drawing/2014/main" id="{BD34C32A-5CBB-B59E-AEF9-4964AE83B6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3537702"/>
            <a:ext cx="4662779" cy="521134"/>
          </a:xfrm>
          <a:prstGeom prst="roundRect">
            <a:avLst>
              <a:gd name="adj" fmla="val 33669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AI orchestration and toolchain</a:t>
            </a:r>
          </a:p>
        </p:txBody>
      </p:sp>
      <p:sp>
        <p:nvSpPr>
          <p:cNvPr id="6" name="Rectangle: Rounded Corners 36">
            <a:extLst>
              <a:ext uri="{FF2B5EF4-FFF2-40B4-BE49-F238E27FC236}">
                <a16:creationId xmlns:a16="http://schemas.microsoft.com/office/drawing/2014/main" id="{521F51D9-E70C-84DB-92C9-54A821B27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5064534"/>
            <a:ext cx="4662779" cy="521134"/>
          </a:xfrm>
          <a:prstGeom prst="roundRect">
            <a:avLst>
              <a:gd name="adj" fmla="val 33230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AI infrastructur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EC42E6A-109A-3900-DB86-24DB0AB73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764611" y="1379397"/>
            <a:ext cx="4662779" cy="4206271"/>
            <a:chOff x="-624016" y="1379106"/>
            <a:chExt cx="4663440" cy="4206868"/>
          </a:xfrm>
          <a:gradFill>
            <a:gsLst>
              <a:gs pos="0">
                <a:srgbClr val="FF5C39"/>
              </a:gs>
              <a:gs pos="32000">
                <a:srgbClr val="C03BC4"/>
              </a:gs>
              <a:gs pos="68000">
                <a:srgbClr val="0078D4"/>
              </a:gs>
              <a:gs pos="100000">
                <a:srgbClr val="399A91"/>
              </a:gs>
            </a:gsLst>
            <a:lin ang="8100000" scaled="0"/>
          </a:gra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F2B7C86-8CC3-B319-1C7B-1216E769A1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-624016" y="3537718"/>
              <a:ext cx="4663440" cy="2048256"/>
            </a:xfrm>
            <a:prstGeom prst="roundRect">
              <a:avLst>
                <a:gd name="adj" fmla="val 8367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0ADB0C9-2721-2842-97E0-1F53C69D8C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-624016" y="2049767"/>
              <a:ext cx="4663440" cy="1042416"/>
            </a:xfrm>
            <a:prstGeom prst="roundRect">
              <a:avLst>
                <a:gd name="adj" fmla="val 16652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18" name="Rectangle: Rounded Corners 36">
              <a:extLst>
                <a:ext uri="{FF2B5EF4-FFF2-40B4-BE49-F238E27FC236}">
                  <a16:creationId xmlns:a16="http://schemas.microsoft.com/office/drawing/2014/main" id="{650B9581-061A-6AF3-1527-BB11056E13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Microsoft Copilot</a:t>
              </a:r>
            </a:p>
          </p:txBody>
        </p:sp>
        <p:sp>
          <p:nvSpPr>
            <p:cNvPr id="50" name="Rectangle: Rounded Corners 36">
              <a:extLst>
                <a:ext uri="{FF2B5EF4-FFF2-40B4-BE49-F238E27FC236}">
                  <a16:creationId xmlns:a16="http://schemas.microsoft.com/office/drawing/2014/main" id="{592D5232-2256-A4BE-5739-9F482CC86E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707704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copilots</a:t>
              </a:r>
            </a:p>
          </p:txBody>
        </p:sp>
        <p:sp>
          <p:nvSpPr>
            <p:cNvPr id="51" name="Rectangle: Rounded Corners 36">
              <a:extLst>
                <a:ext uri="{FF2B5EF4-FFF2-40B4-BE49-F238E27FC236}">
                  <a16:creationId xmlns:a16="http://schemas.microsoft.com/office/drawing/2014/main" id="{4E907ED3-C9E5-B2B2-9F0B-E1C8379DCC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16648" y="2049768"/>
              <a:ext cx="3182112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Copilot extensibility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F0B42B4-58FE-7413-71C6-58E365847C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-624016" y="2570975"/>
              <a:ext cx="4663440" cy="521208"/>
              <a:chOff x="3672840" y="2577849"/>
              <a:chExt cx="4846320" cy="365760"/>
            </a:xfrm>
            <a:grpFill/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E5ED773-A5F2-98C8-8CC7-11EEB32EFEC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72840" y="2577849"/>
                <a:ext cx="4846320" cy="0"/>
              </a:xfrm>
              <a:prstGeom prst="line">
                <a:avLst/>
              </a:prstGeom>
              <a:grpFill/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2117E2AB-B7A0-02F3-3922-B13860A11CF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2577849"/>
                <a:ext cx="0" cy="365760"/>
              </a:xfrm>
              <a:prstGeom prst="line">
                <a:avLst/>
              </a:prstGeom>
              <a:grpFill/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5E22D77-29EC-FCA5-559B-4A75CDAEA4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456184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9AC3528-447D-A5D4-4D32-0703933975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506476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C37CFCD-3E52-0605-D5B1-50FD1FB77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405892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ounded Rectangle 62">
              <a:extLst>
                <a:ext uri="{FF2B5EF4-FFF2-40B4-BE49-F238E27FC236}">
                  <a16:creationId xmlns:a16="http://schemas.microsoft.com/office/drawing/2014/main" id="{F742357F-3E94-9FF3-BC80-DE67EC331497}"/>
                </a:ext>
              </a:extLst>
            </p:cNvPr>
            <p:cNvSpPr/>
            <p:nvPr/>
          </p:nvSpPr>
          <p:spPr bwMode="auto">
            <a:xfrm>
              <a:off x="528128" y="1379106"/>
              <a:ext cx="2359152" cy="437120"/>
            </a:xfrm>
            <a:prstGeom prst="roundRect">
              <a:avLst>
                <a:gd name="adj" fmla="val 50000"/>
              </a:avLst>
            </a:prstGeom>
            <a:grpFill/>
            <a:ln w="44450" cap="rnd">
              <a:noFill/>
              <a:headEnd type="none" w="lg" len="med"/>
              <a:tailEnd type="none" w="lg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290">
                        <a:srgbClr val="FFFFFF"/>
                      </a:gs>
                      <a:gs pos="14504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Open Sans" panose="020B0606030504020204" pitchFamily="34" charset="0"/>
                  <a:cs typeface="Open Sans" panose="020B0606030504020204" pitchFamily="34" charset="0"/>
                </a:rPr>
                <a:t>AI safety and security</a:t>
              </a:r>
            </a:p>
          </p:txBody>
        </p:sp>
        <p:sp>
          <p:nvSpPr>
            <p:cNvPr id="60" name="Rectangle: Rounded Corners 36">
              <a:extLst>
                <a:ext uri="{FF2B5EF4-FFF2-40B4-BE49-F238E27FC236}">
                  <a16:creationId xmlns:a16="http://schemas.microsoft.com/office/drawing/2014/main" id="{B8C9FAD8-A0FB-BB54-C48E-85827166C2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4058926"/>
              <a:ext cx="4663440" cy="502920"/>
            </a:xfrm>
            <a:prstGeom prst="roundRect">
              <a:avLst>
                <a:gd name="adj" fmla="val 34091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data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endParaRPr>
            </a:p>
          </p:txBody>
        </p:sp>
        <p:sp>
          <p:nvSpPr>
            <p:cNvPr id="61" name="Rectangle: Rounded Corners 36">
              <a:extLst>
                <a:ext uri="{FF2B5EF4-FFF2-40B4-BE49-F238E27FC236}">
                  <a16:creationId xmlns:a16="http://schemas.microsoft.com/office/drawing/2014/main" id="{98D07FB0-1CF5-6601-E67E-0A518AF3D1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4561846"/>
              <a:ext cx="4663440" cy="502920"/>
            </a:xfrm>
            <a:prstGeom prst="roundRect">
              <a:avLst>
                <a:gd name="adj" fmla="val 3484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Foundation models</a:t>
              </a:r>
            </a:p>
          </p:txBody>
        </p:sp>
        <p:sp>
          <p:nvSpPr>
            <p:cNvPr id="62" name="Rectangle: Rounded Corners 36">
              <a:extLst>
                <a:ext uri="{FF2B5EF4-FFF2-40B4-BE49-F238E27FC236}">
                  <a16:creationId xmlns:a16="http://schemas.microsoft.com/office/drawing/2014/main" id="{9FF37FA7-B0A8-54B8-5B6E-DF6C452912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3537718"/>
              <a:ext cx="4663440" cy="521208"/>
            </a:xfrm>
            <a:prstGeom prst="roundRect">
              <a:avLst>
                <a:gd name="adj" fmla="val 3366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orchestration and toolchain</a:t>
              </a:r>
            </a:p>
          </p:txBody>
        </p:sp>
        <p:sp>
          <p:nvSpPr>
            <p:cNvPr id="63" name="Rectangle: Rounded Corners 36">
              <a:extLst>
                <a:ext uri="{FF2B5EF4-FFF2-40B4-BE49-F238E27FC236}">
                  <a16:creationId xmlns:a16="http://schemas.microsoft.com/office/drawing/2014/main" id="{E7575966-5266-A2C6-CC7D-6D228AF032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5064766"/>
              <a:ext cx="4663440" cy="521208"/>
            </a:xfrm>
            <a:prstGeom prst="roundRect">
              <a:avLst>
                <a:gd name="adj" fmla="val 33230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infrastructure</a:t>
              </a:r>
            </a:p>
          </p:txBody>
        </p:sp>
      </p:grpSp>
      <p:sp>
        <p:nvSpPr>
          <p:cNvPr id="2" name="Rounded Rectangle 64">
            <a:extLst>
              <a:ext uri="{FF2B5EF4-FFF2-40B4-BE49-F238E27FC236}">
                <a16:creationId xmlns:a16="http://schemas.microsoft.com/office/drawing/2014/main" id="{BA256196-7E3E-7661-C5C7-8443D03D7A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576552" y="1971722"/>
            <a:ext cx="7454961" cy="1219502"/>
          </a:xfrm>
          <a:prstGeom prst="roundRect">
            <a:avLst>
              <a:gd name="adj" fmla="val 3815"/>
            </a:avLst>
          </a:prstGeom>
          <a:gradFill>
            <a:gsLst>
              <a:gs pos="0">
                <a:srgbClr val="FF5C39">
                  <a:alpha val="40000"/>
                </a:srgbClr>
              </a:gs>
              <a:gs pos="32000">
                <a:srgbClr val="C03BC4">
                  <a:alpha val="40000"/>
                </a:srgbClr>
              </a:gs>
              <a:gs pos="68000">
                <a:srgbClr val="0078D4">
                  <a:alpha val="40000"/>
                </a:srgbClr>
              </a:gs>
              <a:gs pos="95000">
                <a:srgbClr val="399A91">
                  <a:alpha val="40000"/>
                </a:srgbClr>
              </a:gs>
            </a:gsLst>
            <a:lin ang="8100000" scaled="1"/>
          </a:gradFill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A6D1FB0-3E0D-4FEB-E7FF-B9D4A2500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53189" y="1379397"/>
            <a:ext cx="5485622" cy="4885371"/>
            <a:chOff x="9355965" y="1379106"/>
            <a:chExt cx="5486400" cy="4886064"/>
          </a:xfrm>
        </p:grpSpPr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470A5B0-A8C9-0C63-B031-19B258DE6D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767445" y="3537718"/>
              <a:ext cx="4663440" cy="2048256"/>
            </a:xfrm>
            <a:prstGeom prst="roundRect">
              <a:avLst>
                <a:gd name="adj" fmla="val 8367"/>
              </a:avLst>
            </a:prstGeom>
            <a:solidFill>
              <a:srgbClr val="3A4953"/>
            </a:solidFill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cxnSp>
          <p:nvCxnSpPr>
            <p:cNvPr id="86" name="!!Straight Arrow Connector 40">
              <a:extLst>
                <a:ext uri="{FF2B5EF4-FFF2-40B4-BE49-F238E27FC236}">
                  <a16:creationId xmlns:a16="http://schemas.microsoft.com/office/drawing/2014/main" id="{4F2C14EB-C910-6404-4015-436B72E9D6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950325" y="5860126"/>
              <a:ext cx="4297680" cy="0"/>
            </a:xfrm>
            <a:prstGeom prst="straightConnector1">
              <a:avLst/>
            </a:prstGeom>
            <a:noFill/>
            <a:ln w="25400" cap="rnd">
              <a:solidFill>
                <a:srgbClr val="657076"/>
              </a:solidFill>
              <a:prstDash val="solid"/>
              <a:round/>
              <a:headEnd type="arrow" w="lg" len="sm"/>
              <a:tailEnd type="arrow" w="lg" len="sm"/>
            </a:ln>
            <a:effectLst/>
          </p:spPr>
        </p:cxnSp>
        <p:sp>
          <p:nvSpPr>
            <p:cNvPr id="87" name="Rounded Rectangle 64" descr="Copilot stack:&#10;&#10;AI safety and security encompass everything in the Copilot stack. &#10;&#10;Top layer:&#10;- Copilot Studio&#10;- Microsoft Copilot; Your copilots&#10;- Microsoft apps&#10;&#10;Middle layer:&#10;AI orchestration and tools&#10;&#10;The bottom layer:&#10;- Your data&#10;- Foundation models &amp; AI toolchain&#10;- AI infrastructure&#10;&#10;Between each layer are bidirectional arrows.&#10;&#10;Microsoft Cloud is the foundation of the Copilot stack">
              <a:extLst>
                <a:ext uri="{FF2B5EF4-FFF2-40B4-BE49-F238E27FC236}">
                  <a16:creationId xmlns:a16="http://schemas.microsoft.com/office/drawing/2014/main" id="{E41E95B0-DA73-2DD0-90C5-AD6265A87D72}"/>
                </a:ext>
              </a:extLst>
            </p:cNvPr>
            <p:cNvSpPr/>
            <p:nvPr/>
          </p:nvSpPr>
          <p:spPr bwMode="auto">
            <a:xfrm>
              <a:off x="9355965" y="1601730"/>
              <a:ext cx="5486400" cy="4663440"/>
            </a:xfrm>
            <a:prstGeom prst="roundRect">
              <a:avLst>
                <a:gd name="adj" fmla="val 3815"/>
              </a:avLst>
            </a:prstGeom>
            <a:noFill/>
            <a:ln w="1905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518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BB5B1EB7-4A97-6A3F-FC74-814BC39F2D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767445" y="2049767"/>
              <a:ext cx="4663440" cy="1042416"/>
            </a:xfrm>
            <a:prstGeom prst="roundRect">
              <a:avLst>
                <a:gd name="adj" fmla="val 16652"/>
              </a:avLst>
            </a:prstGeom>
            <a:solidFill>
              <a:srgbClr val="3A4953"/>
            </a:solidFill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89" name="Rectangle: Rounded Corners 36">
              <a:extLst>
                <a:ext uri="{FF2B5EF4-FFF2-40B4-BE49-F238E27FC236}">
                  <a16:creationId xmlns:a16="http://schemas.microsoft.com/office/drawing/2014/main" id="{99E80036-730F-7CF1-D473-84230BED2A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Microsoft Copilot</a:t>
              </a:r>
            </a:p>
          </p:txBody>
        </p:sp>
        <p:sp>
          <p:nvSpPr>
            <p:cNvPr id="90" name="Rectangle: Rounded Corners 36">
              <a:extLst>
                <a:ext uri="{FF2B5EF4-FFF2-40B4-BE49-F238E27FC236}">
                  <a16:creationId xmlns:a16="http://schemas.microsoft.com/office/drawing/2014/main" id="{4F8CF71D-6C8C-65AC-3DBD-593C557EDC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099165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copilots</a:t>
              </a:r>
            </a:p>
          </p:txBody>
        </p:sp>
        <p:sp>
          <p:nvSpPr>
            <p:cNvPr id="91" name="Rectangle: Rounded Corners 36">
              <a:extLst>
                <a:ext uri="{FF2B5EF4-FFF2-40B4-BE49-F238E27FC236}">
                  <a16:creationId xmlns:a16="http://schemas.microsoft.com/office/drawing/2014/main" id="{8E7414A4-8E8E-F147-8650-44B7E0A640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508109" y="2049768"/>
              <a:ext cx="3182112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Copilot extensibility</a:t>
              </a: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B4DBFF4F-791F-4BFF-4E1B-1101A887AE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67445" y="2570975"/>
              <a:ext cx="4663440" cy="521208"/>
              <a:chOff x="3672840" y="2577849"/>
              <a:chExt cx="4846320" cy="365760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D2F76917-3C3A-E147-5F31-06AF42C5970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72840" y="2577849"/>
                <a:ext cx="4846320" cy="0"/>
              </a:xfrm>
              <a:prstGeom prst="line">
                <a:avLst/>
              </a:prstGeom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BC1D6FF-D2B4-9B38-55B2-BA22345E09A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2577849"/>
                <a:ext cx="0" cy="365760"/>
              </a:xfrm>
              <a:prstGeom prst="line">
                <a:avLst/>
              </a:prstGeom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E4D3D01-BBE4-CBDF-0158-B0A4B1920E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456184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C112C663-C0AD-DD87-7461-E42632E6F8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506476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96F8C2C-43D9-4D48-1A8D-1516F85D75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405892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Rounded Rectangle 62">
              <a:extLst>
                <a:ext uri="{FF2B5EF4-FFF2-40B4-BE49-F238E27FC236}">
                  <a16:creationId xmlns:a16="http://schemas.microsoft.com/office/drawing/2014/main" id="{B9782B95-36CC-6D59-2076-D63A94442B70}"/>
                </a:ext>
              </a:extLst>
            </p:cNvPr>
            <p:cNvSpPr/>
            <p:nvPr/>
          </p:nvSpPr>
          <p:spPr bwMode="auto">
            <a:xfrm>
              <a:off x="10919589" y="1379106"/>
              <a:ext cx="2359152" cy="437120"/>
            </a:xfrm>
            <a:prstGeom prst="roundRect">
              <a:avLst>
                <a:gd name="adj" fmla="val 50000"/>
              </a:avLst>
            </a:prstGeom>
            <a:solidFill>
              <a:srgbClr val="3A4953"/>
            </a:solidFill>
            <a:ln w="44450" cap="rnd">
              <a:noFill/>
              <a:headEnd type="none" w="lg" len="med"/>
              <a:tailEnd type="none" w="lg" len="med"/>
            </a:ln>
            <a:effectLst>
              <a:outerShdw blurRad="63500" dist="63500" dir="2700000" algn="ctr" rotWithShape="0">
                <a:srgbClr val="000000">
                  <a:alpha val="5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290">
                        <a:srgbClr val="FFFFFF"/>
                      </a:gs>
                      <a:gs pos="14504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Open Sans" panose="020B0606030504020204" pitchFamily="34" charset="0"/>
                  <a:cs typeface="Open Sans" panose="020B0606030504020204" pitchFamily="34" charset="0"/>
                </a:rPr>
                <a:t>AI safety and security</a:t>
              </a:r>
            </a:p>
          </p:txBody>
        </p:sp>
        <p:grpSp>
          <p:nvGrpSpPr>
            <p:cNvPr id="99" name="!!Group 13">
              <a:extLst>
                <a:ext uri="{FF2B5EF4-FFF2-40B4-BE49-F238E27FC236}">
                  <a16:creationId xmlns:a16="http://schemas.microsoft.com/office/drawing/2014/main" id="{80EF7E54-C097-2FD5-C406-42F047BD62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2018186" y="3199980"/>
              <a:ext cx="161960" cy="245872"/>
              <a:chOff x="24240907" y="14944739"/>
              <a:chExt cx="489402" cy="892452"/>
            </a:xfrm>
          </p:grpSpPr>
          <p:cxnSp>
            <p:nvCxnSpPr>
              <p:cNvPr id="100" name="Straight Arrow Connector 99">
                <a:extLst>
                  <a:ext uri="{FF2B5EF4-FFF2-40B4-BE49-F238E27FC236}">
                    <a16:creationId xmlns:a16="http://schemas.microsoft.com/office/drawing/2014/main" id="{E1E74365-9B29-40C4-3B59-3FCDBBAC1C6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240907" y="14944739"/>
                <a:ext cx="0" cy="548643"/>
              </a:xfrm>
              <a:prstGeom prst="straightConnector1">
                <a:avLst/>
              </a:prstGeom>
              <a:solidFill>
                <a:srgbClr val="3A4953"/>
              </a:solidFill>
              <a:ln w="25400" cap="rnd">
                <a:solidFill>
                  <a:srgbClr val="657076"/>
                </a:solidFill>
                <a:headEnd type="none" w="lg" len="sm"/>
                <a:tailEnd type="arrow" w="lg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Arrow Connector 100">
                <a:extLst>
                  <a:ext uri="{FF2B5EF4-FFF2-40B4-BE49-F238E27FC236}">
                    <a16:creationId xmlns:a16="http://schemas.microsoft.com/office/drawing/2014/main" id="{0BF37F2F-4F33-AD2B-1D27-B03D0EBDEBE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730309" y="15288548"/>
                <a:ext cx="0" cy="548643"/>
              </a:xfrm>
              <a:prstGeom prst="straightConnector1">
                <a:avLst/>
              </a:prstGeom>
              <a:solidFill>
                <a:srgbClr val="3A4953"/>
              </a:solidFill>
              <a:ln w="25400" cap="rnd">
                <a:solidFill>
                  <a:srgbClr val="657076"/>
                </a:solidFill>
                <a:headEnd type="none" w="lg" len="sm"/>
                <a:tailEnd type="arrow" w="lg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3" name="Rectangle: Rounded Corners 36">
              <a:extLst>
                <a:ext uri="{FF2B5EF4-FFF2-40B4-BE49-F238E27FC236}">
                  <a16:creationId xmlns:a16="http://schemas.microsoft.com/office/drawing/2014/main" id="{AC07911A-5ABC-1FDC-D180-167968233D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4058926"/>
              <a:ext cx="4663440" cy="502920"/>
            </a:xfrm>
            <a:prstGeom prst="roundRect">
              <a:avLst>
                <a:gd name="adj" fmla="val 34091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data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endParaRPr>
            </a:p>
          </p:txBody>
        </p:sp>
        <p:sp>
          <p:nvSpPr>
            <p:cNvPr id="104" name="Rectangle: Rounded Corners 36">
              <a:extLst>
                <a:ext uri="{FF2B5EF4-FFF2-40B4-BE49-F238E27FC236}">
                  <a16:creationId xmlns:a16="http://schemas.microsoft.com/office/drawing/2014/main" id="{17FD709A-324B-0273-1D21-F29957029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4561846"/>
              <a:ext cx="4663440" cy="502920"/>
            </a:xfrm>
            <a:prstGeom prst="roundRect">
              <a:avLst>
                <a:gd name="adj" fmla="val 3484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Foundation models</a:t>
              </a:r>
            </a:p>
          </p:txBody>
        </p:sp>
        <p:sp>
          <p:nvSpPr>
            <p:cNvPr id="105" name="Rectangle: Rounded Corners 36">
              <a:extLst>
                <a:ext uri="{FF2B5EF4-FFF2-40B4-BE49-F238E27FC236}">
                  <a16:creationId xmlns:a16="http://schemas.microsoft.com/office/drawing/2014/main" id="{C2B3F937-31A0-7F77-AECB-976E8BCD9B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3537718"/>
              <a:ext cx="4663440" cy="521208"/>
            </a:xfrm>
            <a:prstGeom prst="roundRect">
              <a:avLst>
                <a:gd name="adj" fmla="val 3366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orchestration and toolchain</a:t>
              </a:r>
            </a:p>
          </p:txBody>
        </p:sp>
        <p:sp>
          <p:nvSpPr>
            <p:cNvPr id="106" name="Rectangle: Rounded Corners 36">
              <a:extLst>
                <a:ext uri="{FF2B5EF4-FFF2-40B4-BE49-F238E27FC236}">
                  <a16:creationId xmlns:a16="http://schemas.microsoft.com/office/drawing/2014/main" id="{54C1F752-87CB-534B-6EFE-A1300E319F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5064766"/>
              <a:ext cx="4663440" cy="521208"/>
            </a:xfrm>
            <a:prstGeom prst="roundRect">
              <a:avLst>
                <a:gd name="adj" fmla="val 33230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infrastructure</a:t>
              </a: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65E43996-6B01-554E-8286-9F4ABE5646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96014" y="5764090"/>
            <a:ext cx="1599973" cy="387769"/>
          </a:xfrm>
          <a:prstGeom prst="rect">
            <a:avLst/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!!azure">
            <a:extLst>
              <a:ext uri="{FF2B5EF4-FFF2-40B4-BE49-F238E27FC236}">
                <a16:creationId xmlns:a16="http://schemas.microsoft.com/office/drawing/2014/main" id="{BA4DF5B6-97B1-249A-CBE0-5E8FD6D90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296014" y="5717057"/>
            <a:ext cx="1599973" cy="24622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256338" fontAlgn="base">
              <a:spcBef>
                <a:spcPct val="0"/>
              </a:spcBef>
              <a:spcAft>
                <a:spcPct val="0"/>
              </a:spcAft>
              <a:defRPr sz="4400">
                <a:gradFill>
                  <a:gsLst>
                    <a:gs pos="74138">
                      <a:srgbClr val="FFFFFF"/>
                    </a:gs>
                    <a:gs pos="5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Variable Small Semibol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4504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Open Sans" panose="020B0606030504020204" pitchFamily="34" charset="0"/>
                <a:cs typeface="Open Sans" panose="020B0606030504020204" pitchFamily="34" charset="0"/>
              </a:rPr>
              <a:t>Cloud and Edge</a:t>
            </a:r>
          </a:p>
        </p:txBody>
      </p:sp>
      <p:sp>
        <p:nvSpPr>
          <p:cNvPr id="11" name="Rounded Rectangle 64">
            <a:extLst>
              <a:ext uri="{FF2B5EF4-FFF2-40B4-BE49-F238E27FC236}">
                <a16:creationId xmlns:a16="http://schemas.microsoft.com/office/drawing/2014/main" id="{7ECA5391-89CA-7503-28E9-343CD117E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576552" y="1963670"/>
            <a:ext cx="7454961" cy="1236342"/>
          </a:xfrm>
          <a:prstGeom prst="roundRect">
            <a:avLst>
              <a:gd name="adj" fmla="val 3815"/>
            </a:avLst>
          </a:prstGeom>
          <a:noFill/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C52B06D-B9FB-957E-A030-E66786BC5608}"/>
              </a:ext>
            </a:extLst>
          </p:cNvPr>
          <p:cNvGrpSpPr/>
          <p:nvPr/>
        </p:nvGrpSpPr>
        <p:grpSpPr>
          <a:xfrm>
            <a:off x="9162756" y="2122040"/>
            <a:ext cx="1683497" cy="898113"/>
            <a:chOff x="9082269" y="2057872"/>
            <a:chExt cx="1683497" cy="898113"/>
          </a:xfrm>
        </p:grpSpPr>
        <p:sp>
          <p:nvSpPr>
            <p:cNvPr id="13" name="Rounded Rectangle 62">
              <a:extLst>
                <a:ext uri="{FF2B5EF4-FFF2-40B4-BE49-F238E27FC236}">
                  <a16:creationId xmlns:a16="http://schemas.microsoft.com/office/drawing/2014/main" id="{04EC8F8C-A9BD-D1BE-5CFB-5964C71EC251}"/>
                </a:ext>
              </a:extLst>
            </p:cNvPr>
            <p:cNvSpPr/>
            <p:nvPr/>
          </p:nvSpPr>
          <p:spPr bwMode="auto">
            <a:xfrm>
              <a:off x="9082269" y="2613135"/>
              <a:ext cx="1683497" cy="34285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</a:gradFill>
            <a:ln w="44450" cap="rnd">
              <a:noFill/>
              <a:headEnd type="none" w="lg" len="med"/>
              <a:tailEnd type="none" w="lg" len="med"/>
            </a:ln>
            <a:effectLst>
              <a:outerShdw blurRad="63500" dist="63500" dir="2700000" algn="ctr" rotWithShape="0">
                <a:srgbClr val="000000">
                  <a:alpha val="5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290">
                        <a:srgbClr val="FFFFFF"/>
                      </a:gs>
                      <a:gs pos="14504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Open Sans" panose="020B0606030504020204" pitchFamily="34" charset="0"/>
                  <a:cs typeface="Open Sans" panose="020B0606030504020204" pitchFamily="34" charset="0"/>
                </a:rPr>
                <a:t>Copilot Studio</a:t>
              </a:r>
            </a:p>
          </p:txBody>
        </p:sp>
        <p:pic>
          <p:nvPicPr>
            <p:cNvPr id="15" name="Picture 2" descr="A blue and green rectangles&#10;&#10;Description automatically generated">
              <a:extLst>
                <a:ext uri="{FF2B5EF4-FFF2-40B4-BE49-F238E27FC236}">
                  <a16:creationId xmlns:a16="http://schemas.microsoft.com/office/drawing/2014/main" id="{8AE2712D-6B64-DEFD-A8F5-361FF5BC5F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6845" y="2057872"/>
              <a:ext cx="514344" cy="48727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44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mpowering world's worker">
            <a:extLst>
              <a:ext uri="{FF2B5EF4-FFF2-40B4-BE49-F238E27FC236}">
                <a16:creationId xmlns:a16="http://schemas.microsoft.com/office/drawing/2014/main" id="{AED3A366-582C-448F-3817-0F7EDFCC47D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custGeom>
            <a:avLst/>
            <a:gdLst>
              <a:gd name="connsiteX0" fmla="*/ 0 w 15936820"/>
              <a:gd name="connsiteY0" fmla="*/ 0 h 1121397"/>
              <a:gd name="connsiteX1" fmla="*/ 15936820 w 15936820"/>
              <a:gd name="connsiteY1" fmla="*/ 0 h 1121397"/>
              <a:gd name="connsiteX2" fmla="*/ 15936820 w 15936820"/>
              <a:gd name="connsiteY2" fmla="*/ 1121397 h 1121397"/>
              <a:gd name="connsiteX3" fmla="*/ 0 w 15936820"/>
              <a:gd name="connsiteY3" fmla="*/ 1121397 h 1121397"/>
              <a:gd name="connsiteX4" fmla="*/ 0 w 15936820"/>
              <a:gd name="connsiteY4" fmla="*/ 0 h 112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6820" h="1121397">
                <a:moveTo>
                  <a:pt x="0" y="0"/>
                </a:moveTo>
                <a:lnTo>
                  <a:pt x="15936820" y="0"/>
                </a:lnTo>
                <a:lnTo>
                  <a:pt x="15936820" y="1121397"/>
                </a:lnTo>
                <a:lnTo>
                  <a:pt x="0" y="112139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67" fontAlgn="base">
              <a:spcAft>
                <a:spcPct val="0"/>
              </a:spcAft>
              <a:tabLst>
                <a:tab pos="920668" algn="l"/>
              </a:tabLst>
              <a:defRPr/>
            </a:pPr>
            <a:r>
              <a:rPr lang="en-CA" sz="4000" spc="0" dirty="0">
                <a:gradFill>
                  <a:gsLst>
                    <a:gs pos="94253">
                      <a:srgbClr val="FFFFFF"/>
                    </a:gs>
                    <a:gs pos="78736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rPr>
              <a:t>Copilot Tech Stack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A8AA871-A2E1-9DC1-7C64-C9747547B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764611" y="3537704"/>
            <a:ext cx="4662779" cy="2047965"/>
          </a:xfrm>
          <a:prstGeom prst="roundRect">
            <a:avLst>
              <a:gd name="adj" fmla="val 8367"/>
            </a:avLst>
          </a:prstGeom>
          <a:solidFill>
            <a:srgbClr val="3A4953"/>
          </a:solidFill>
          <a:ln>
            <a:noFill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Small Semibol" pitchFamily="2" charset="0"/>
              <a:ea typeface="+mn-ea"/>
              <a:cs typeface="Segoe UI" pitchFamily="34" charset="0"/>
            </a:endParaRPr>
          </a:p>
        </p:txBody>
      </p:sp>
      <p:cxnSp>
        <p:nvCxnSpPr>
          <p:cNvPr id="41" name="!!Straight Arrow Connector 40">
            <a:extLst>
              <a:ext uri="{FF2B5EF4-FFF2-40B4-BE49-F238E27FC236}">
                <a16:creationId xmlns:a16="http://schemas.microsoft.com/office/drawing/2014/main" id="{21A1EEFE-89CA-BA99-C74A-C2959C8CC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47465" y="5859781"/>
            <a:ext cx="4297071" cy="0"/>
          </a:xfrm>
          <a:prstGeom prst="straightConnector1">
            <a:avLst/>
          </a:prstGeom>
          <a:noFill/>
          <a:ln w="25400" cap="rnd">
            <a:solidFill>
              <a:srgbClr val="657076"/>
            </a:solidFill>
            <a:prstDash val="solid"/>
            <a:round/>
            <a:headEnd type="arrow" w="lg" len="sm"/>
            <a:tailEnd type="arrow" w="lg" len="sm"/>
          </a:ln>
          <a:effectLst/>
        </p:spPr>
      </p:cxnSp>
      <p:cxnSp>
        <p:nvCxnSpPr>
          <p:cNvPr id="160" name="!!Straight Arrow Connector 40">
            <a:extLst>
              <a:ext uri="{FF2B5EF4-FFF2-40B4-BE49-F238E27FC236}">
                <a16:creationId xmlns:a16="http://schemas.microsoft.com/office/drawing/2014/main" id="{2CA1FD2F-E529-9EFE-33AF-4D1FDF422F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47465" y="5859781"/>
            <a:ext cx="4297071" cy="0"/>
          </a:xfrm>
          <a:prstGeom prst="straightConnector1">
            <a:avLst/>
          </a:prstGeom>
          <a:noFill/>
          <a:ln w="25400" cap="rnd">
            <a:gradFill flip="none" rotWithShape="1">
              <a:gsLst>
                <a:gs pos="10000">
                  <a:srgbClr val="0078D4"/>
                </a:gs>
                <a:gs pos="90000">
                  <a:srgbClr val="399A91"/>
                </a:gs>
              </a:gsLst>
              <a:lin ang="10800000" scaled="1"/>
              <a:tileRect/>
            </a:gradFill>
            <a:prstDash val="solid"/>
            <a:round/>
            <a:headEnd type="arrow" w="lg" len="sm"/>
            <a:tailEnd type="arrow" w="lg" len="sm"/>
          </a:ln>
          <a:effectLst/>
        </p:spPr>
      </p:cxnSp>
      <p:sp>
        <p:nvSpPr>
          <p:cNvPr id="37" name="Rounded Rectangle 64">
            <a:extLst>
              <a:ext uri="{FF2B5EF4-FFF2-40B4-BE49-F238E27FC236}">
                <a16:creationId xmlns:a16="http://schemas.microsoft.com/office/drawing/2014/main" id="{53CF5DA9-F378-218F-9881-C5DC2AA25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53189" y="1601990"/>
            <a:ext cx="5485622" cy="4662779"/>
          </a:xfrm>
          <a:prstGeom prst="roundRect">
            <a:avLst>
              <a:gd name="adj" fmla="val 3815"/>
            </a:avLst>
          </a:prstGeom>
          <a:noFill/>
          <a:ln w="19050" cap="rnd">
            <a:solidFill>
              <a:srgbClr val="65707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7" name="Rounded Rectangle 64">
            <a:extLst>
              <a:ext uri="{FF2B5EF4-FFF2-40B4-BE49-F238E27FC236}">
                <a16:creationId xmlns:a16="http://schemas.microsoft.com/office/drawing/2014/main" id="{9B69BAB8-B92B-3104-D8DD-B06E7B9FC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53189" y="1601990"/>
            <a:ext cx="5485622" cy="4662779"/>
          </a:xfrm>
          <a:prstGeom prst="roundRect">
            <a:avLst>
              <a:gd name="adj" fmla="val 3815"/>
            </a:avLst>
          </a:prstGeom>
          <a:noFill/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64A6405-B5B1-0FCE-7520-0DEE49A01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764611" y="2049963"/>
            <a:ext cx="4662779" cy="1042268"/>
          </a:xfrm>
          <a:prstGeom prst="roundRect">
            <a:avLst>
              <a:gd name="adj" fmla="val 16652"/>
            </a:avLst>
          </a:prstGeom>
          <a:solidFill>
            <a:srgbClr val="3A4953"/>
          </a:solidFill>
          <a:ln>
            <a:noFill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Small Semibol" pitchFamily="2" charset="0"/>
              <a:ea typeface="+mn-ea"/>
              <a:cs typeface="Segoe UI" pitchFamily="34" charset="0"/>
            </a:endParaRPr>
          </a:p>
        </p:txBody>
      </p:sp>
      <p:sp>
        <p:nvSpPr>
          <p:cNvPr id="9" name="Rectangle: Rounded Corners 36">
            <a:extLst>
              <a:ext uri="{FF2B5EF4-FFF2-40B4-BE49-F238E27FC236}">
                <a16:creationId xmlns:a16="http://schemas.microsoft.com/office/drawing/2014/main" id="{3386B711-95E8-C851-A9B5-4A0F38C226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2571097"/>
            <a:ext cx="2331390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Microsoft Copilot</a:t>
            </a:r>
          </a:p>
        </p:txBody>
      </p:sp>
      <p:sp>
        <p:nvSpPr>
          <p:cNvPr id="5" name="Rectangle: Rounded Corners 36">
            <a:extLst>
              <a:ext uri="{FF2B5EF4-FFF2-40B4-BE49-F238E27FC236}">
                <a16:creationId xmlns:a16="http://schemas.microsoft.com/office/drawing/2014/main" id="{C585A709-E626-6679-453B-84B7B8559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2571097"/>
            <a:ext cx="2331390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Your copilots</a:t>
            </a:r>
          </a:p>
        </p:txBody>
      </p:sp>
      <p:sp>
        <p:nvSpPr>
          <p:cNvPr id="8" name="Rectangle: Rounded Corners 36">
            <a:extLst>
              <a:ext uri="{FF2B5EF4-FFF2-40B4-BE49-F238E27FC236}">
                <a16:creationId xmlns:a16="http://schemas.microsoft.com/office/drawing/2014/main" id="{5FFEC4A3-BA3F-0593-C588-564A9862B5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5170" y="2049964"/>
            <a:ext cx="3181661" cy="521134"/>
          </a:xfrm>
          <a:prstGeom prst="rect">
            <a:avLst/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Copilot extensibility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9DBE41D-7240-A1BA-BD87-041C6143E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764611" y="2571097"/>
            <a:ext cx="4662779" cy="521134"/>
            <a:chOff x="3672840" y="2577849"/>
            <a:chExt cx="4846320" cy="3657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69C991D-2CE0-BD70-8535-052F4F308B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2577849"/>
              <a:ext cx="484632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C9EDB29-2554-0747-7B0B-E55B570AF7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577849"/>
              <a:ext cx="0" cy="36576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F667C45-DE74-367C-CBF2-74B9944C7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4561685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B475553-1E94-D8EC-4CF5-8FC908732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5064534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D6572A5-C6FD-C186-2D02-7CACBDA3A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64611" y="4058836"/>
            <a:ext cx="4662779" cy="0"/>
          </a:xfrm>
          <a:prstGeom prst="line">
            <a:avLst/>
          </a:prstGeom>
          <a:ln w="12700" cap="rnd">
            <a:solidFill>
              <a:srgbClr val="091F2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7F6D498F-B9C8-DE20-0F2A-7E62A29939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16592" y="1478996"/>
            <a:ext cx="2358818" cy="443240"/>
          </a:xfrm>
          <a:prstGeom prst="rect">
            <a:avLst/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ounded Rectangle 62">
            <a:extLst>
              <a:ext uri="{FF2B5EF4-FFF2-40B4-BE49-F238E27FC236}">
                <a16:creationId xmlns:a16="http://schemas.microsoft.com/office/drawing/2014/main" id="{96BFF257-4DE7-6814-D149-036AC6BCD7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16592" y="1379397"/>
            <a:ext cx="2358818" cy="437058"/>
          </a:xfrm>
          <a:prstGeom prst="roundRect">
            <a:avLst>
              <a:gd name="adj" fmla="val 50000"/>
            </a:avLst>
          </a:prstGeom>
          <a:solidFill>
            <a:srgbClr val="3A4953"/>
          </a:solidFill>
          <a:ln w="44450" cap="rnd">
            <a:noFill/>
            <a:headEnd type="none" w="lg" len="med"/>
            <a:tailEnd type="none" w="lg" len="med"/>
          </a:ln>
          <a:effectLst>
            <a:outerShdw blurRad="63500" dist="63500" dir="2700000" algn="ctr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290">
                      <a:srgbClr val="FFFFFF"/>
                    </a:gs>
                    <a:gs pos="14504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Open Sans" panose="020B0606030504020204" pitchFamily="34" charset="0"/>
                <a:cs typeface="Open Sans" panose="020B0606030504020204" pitchFamily="34" charset="0"/>
              </a:rPr>
              <a:t>AI safety and security</a:t>
            </a:r>
          </a:p>
        </p:txBody>
      </p:sp>
      <p:grpSp>
        <p:nvGrpSpPr>
          <p:cNvPr id="161" name="!!Group 13">
            <a:extLst>
              <a:ext uri="{FF2B5EF4-FFF2-40B4-BE49-F238E27FC236}">
                <a16:creationId xmlns:a16="http://schemas.microsoft.com/office/drawing/2014/main" id="{6443990E-538D-FD4A-48D0-274C938BCD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5032" y="3200013"/>
            <a:ext cx="161937" cy="245837"/>
            <a:chOff x="24240907" y="14944739"/>
            <a:chExt cx="489402" cy="892452"/>
          </a:xfrm>
        </p:grpSpPr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BA5687A2-145E-D9DA-5828-4122EF8B34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240907" y="14944739"/>
              <a:ext cx="0" cy="548641"/>
            </a:xfrm>
            <a:prstGeom prst="straightConnector1">
              <a:avLst/>
            </a:prstGeom>
            <a:solidFill>
              <a:srgbClr val="3A4953"/>
            </a:solidFill>
            <a:ln w="25400" cap="rnd">
              <a:solidFill>
                <a:srgbClr val="657076"/>
              </a:soli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Arrow Connector 162">
              <a:extLst>
                <a:ext uri="{FF2B5EF4-FFF2-40B4-BE49-F238E27FC236}">
                  <a16:creationId xmlns:a16="http://schemas.microsoft.com/office/drawing/2014/main" id="{D571C2F5-3C65-BB93-7346-874DD48116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730309" y="15288548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solidFill>
                <a:srgbClr val="657076"/>
              </a:soli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!!Group 13">
            <a:extLst>
              <a:ext uri="{FF2B5EF4-FFF2-40B4-BE49-F238E27FC236}">
                <a16:creationId xmlns:a16="http://schemas.microsoft.com/office/drawing/2014/main" id="{987BD6F6-EE57-2268-8DB7-8171148B5F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5032" y="3200013"/>
            <a:ext cx="161937" cy="245837"/>
            <a:chOff x="24240907" y="14944739"/>
            <a:chExt cx="489402" cy="892452"/>
          </a:xfrm>
        </p:grpSpPr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145FD2E8-0E0C-119E-5888-CB1E17B99B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240907" y="14944739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gradFill>
                <a:gsLst>
                  <a:gs pos="0">
                    <a:srgbClr val="5B5BCC"/>
                  </a:gs>
                  <a:gs pos="100000">
                    <a:srgbClr val="7652CA"/>
                  </a:gs>
                </a:gsLst>
                <a:lin ang="5400000" scaled="1"/>
              </a:gra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39E38EDA-4FE6-276B-39BE-CAD85328E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730309" y="15288548"/>
              <a:ext cx="0" cy="548643"/>
            </a:xfrm>
            <a:prstGeom prst="straightConnector1">
              <a:avLst/>
            </a:prstGeom>
            <a:solidFill>
              <a:srgbClr val="3A4953"/>
            </a:solidFill>
            <a:ln w="25400" cap="rnd">
              <a:gradFill>
                <a:gsLst>
                  <a:gs pos="0">
                    <a:srgbClr val="5B5BCC"/>
                  </a:gs>
                  <a:gs pos="100000">
                    <a:srgbClr val="7652CA"/>
                  </a:gs>
                </a:gsLst>
                <a:lin ang="5400000" scaled="1"/>
              </a:gradFill>
              <a:headEnd type="none" w="lg" len="sm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: Rounded Corners 36">
            <a:extLst>
              <a:ext uri="{FF2B5EF4-FFF2-40B4-BE49-F238E27FC236}">
                <a16:creationId xmlns:a16="http://schemas.microsoft.com/office/drawing/2014/main" id="{624F9783-3A03-CE1C-B4D7-3E372B5CE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4058836"/>
            <a:ext cx="4662779" cy="502849"/>
          </a:xfrm>
          <a:prstGeom prst="roundRect">
            <a:avLst>
              <a:gd name="adj" fmla="val 34091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Your data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gradFill>
                <a:gsLst>
                  <a:gs pos="2797">
                    <a:srgbClr val="FFFFFF"/>
                  </a:gs>
                  <a:gs pos="15000">
                    <a:srgbClr val="FFFFFF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Display Semib"/>
              <a:ea typeface="+mn-ea"/>
              <a:cs typeface="Segoe UI" pitchFamily="34" charset="0"/>
            </a:endParaRPr>
          </a:p>
        </p:txBody>
      </p:sp>
      <p:sp>
        <p:nvSpPr>
          <p:cNvPr id="21" name="Rectangle: Rounded Corners 36">
            <a:extLst>
              <a:ext uri="{FF2B5EF4-FFF2-40B4-BE49-F238E27FC236}">
                <a16:creationId xmlns:a16="http://schemas.microsoft.com/office/drawing/2014/main" id="{989A552A-7A41-915A-5E19-BF0BBFA36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4561685"/>
            <a:ext cx="4662779" cy="502849"/>
          </a:xfrm>
          <a:prstGeom prst="roundRect">
            <a:avLst>
              <a:gd name="adj" fmla="val 34849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Foundation models</a:t>
            </a:r>
          </a:p>
        </p:txBody>
      </p:sp>
      <p:sp>
        <p:nvSpPr>
          <p:cNvPr id="23" name="Rectangle: Rounded Corners 36">
            <a:extLst>
              <a:ext uri="{FF2B5EF4-FFF2-40B4-BE49-F238E27FC236}">
                <a16:creationId xmlns:a16="http://schemas.microsoft.com/office/drawing/2014/main" id="{BD34C32A-5CBB-B59E-AEF9-4964AE83B6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3537702"/>
            <a:ext cx="4662779" cy="521134"/>
          </a:xfrm>
          <a:prstGeom prst="roundRect">
            <a:avLst>
              <a:gd name="adj" fmla="val 33669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AI orchestration and toolchain</a:t>
            </a:r>
          </a:p>
        </p:txBody>
      </p:sp>
      <p:sp>
        <p:nvSpPr>
          <p:cNvPr id="6" name="Rectangle: Rounded Corners 36">
            <a:extLst>
              <a:ext uri="{FF2B5EF4-FFF2-40B4-BE49-F238E27FC236}">
                <a16:creationId xmlns:a16="http://schemas.microsoft.com/office/drawing/2014/main" id="{521F51D9-E70C-84DB-92C9-54A821B27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64611" y="5064534"/>
            <a:ext cx="4662779" cy="521134"/>
          </a:xfrm>
          <a:prstGeom prst="roundRect">
            <a:avLst>
              <a:gd name="adj" fmla="val 33230"/>
            </a:avLst>
          </a:prstGeom>
          <a:noFill/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rPr>
              <a:t>AI infrastructur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EC42E6A-109A-3900-DB86-24DB0AB73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764611" y="1379397"/>
            <a:ext cx="4662779" cy="4206271"/>
            <a:chOff x="-624016" y="1379106"/>
            <a:chExt cx="4663440" cy="4206868"/>
          </a:xfrm>
          <a:gradFill>
            <a:gsLst>
              <a:gs pos="0">
                <a:srgbClr val="FF5C39"/>
              </a:gs>
              <a:gs pos="32000">
                <a:srgbClr val="C03BC4"/>
              </a:gs>
              <a:gs pos="68000">
                <a:srgbClr val="0078D4"/>
              </a:gs>
              <a:gs pos="100000">
                <a:srgbClr val="399A91"/>
              </a:gs>
            </a:gsLst>
            <a:lin ang="8100000" scaled="0"/>
          </a:gra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F2B7C86-8CC3-B319-1C7B-1216E769A1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-624016" y="3537718"/>
              <a:ext cx="4663440" cy="2048256"/>
            </a:xfrm>
            <a:prstGeom prst="roundRect">
              <a:avLst>
                <a:gd name="adj" fmla="val 8367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0ADB0C9-2721-2842-97E0-1F53C69D8C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-624016" y="2049767"/>
              <a:ext cx="4663440" cy="1042416"/>
            </a:xfrm>
            <a:prstGeom prst="roundRect">
              <a:avLst>
                <a:gd name="adj" fmla="val 16652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18" name="Rectangle: Rounded Corners 36">
              <a:extLst>
                <a:ext uri="{FF2B5EF4-FFF2-40B4-BE49-F238E27FC236}">
                  <a16:creationId xmlns:a16="http://schemas.microsoft.com/office/drawing/2014/main" id="{650B9581-061A-6AF3-1527-BB11056E13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Microsoft Copilot</a:t>
              </a:r>
            </a:p>
          </p:txBody>
        </p:sp>
        <p:sp>
          <p:nvSpPr>
            <p:cNvPr id="50" name="Rectangle: Rounded Corners 36">
              <a:extLst>
                <a:ext uri="{FF2B5EF4-FFF2-40B4-BE49-F238E27FC236}">
                  <a16:creationId xmlns:a16="http://schemas.microsoft.com/office/drawing/2014/main" id="{592D5232-2256-A4BE-5739-9F482CC86E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707704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copilots</a:t>
              </a:r>
            </a:p>
          </p:txBody>
        </p:sp>
        <p:sp>
          <p:nvSpPr>
            <p:cNvPr id="51" name="Rectangle: Rounded Corners 36">
              <a:extLst>
                <a:ext uri="{FF2B5EF4-FFF2-40B4-BE49-F238E27FC236}">
                  <a16:creationId xmlns:a16="http://schemas.microsoft.com/office/drawing/2014/main" id="{4E907ED3-C9E5-B2B2-9F0B-E1C8379DCC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16648" y="2049768"/>
              <a:ext cx="3182112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Copilot extensibility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F0B42B4-58FE-7413-71C6-58E365847C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-624016" y="2570975"/>
              <a:ext cx="4663440" cy="521208"/>
              <a:chOff x="3672840" y="2577849"/>
              <a:chExt cx="4846320" cy="365760"/>
            </a:xfrm>
            <a:grpFill/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E5ED773-A5F2-98C8-8CC7-11EEB32EFEC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72840" y="2577849"/>
                <a:ext cx="4846320" cy="0"/>
              </a:xfrm>
              <a:prstGeom prst="line">
                <a:avLst/>
              </a:prstGeom>
              <a:grpFill/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2117E2AB-B7A0-02F3-3922-B13860A11CF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2577849"/>
                <a:ext cx="0" cy="365760"/>
              </a:xfrm>
              <a:prstGeom prst="line">
                <a:avLst/>
              </a:prstGeom>
              <a:grpFill/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5E22D77-29EC-FCA5-559B-4A75CDAEA4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456184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9AC3528-447D-A5D4-4D32-0703933975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506476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C37CFCD-3E52-0605-D5B1-50FD1FB77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-624016" y="4058926"/>
              <a:ext cx="4663440" cy="0"/>
            </a:xfrm>
            <a:prstGeom prst="line">
              <a:avLst/>
            </a:prstGeom>
            <a:grpFill/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ounded Rectangle 62">
              <a:extLst>
                <a:ext uri="{FF2B5EF4-FFF2-40B4-BE49-F238E27FC236}">
                  <a16:creationId xmlns:a16="http://schemas.microsoft.com/office/drawing/2014/main" id="{F742357F-3E94-9FF3-BC80-DE67EC331497}"/>
                </a:ext>
              </a:extLst>
            </p:cNvPr>
            <p:cNvSpPr/>
            <p:nvPr/>
          </p:nvSpPr>
          <p:spPr bwMode="auto">
            <a:xfrm>
              <a:off x="528128" y="1379106"/>
              <a:ext cx="2359152" cy="437120"/>
            </a:xfrm>
            <a:prstGeom prst="roundRect">
              <a:avLst>
                <a:gd name="adj" fmla="val 50000"/>
              </a:avLst>
            </a:prstGeom>
            <a:grpFill/>
            <a:ln w="44450" cap="rnd">
              <a:noFill/>
              <a:headEnd type="none" w="lg" len="med"/>
              <a:tailEnd type="none" w="lg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290">
                        <a:srgbClr val="FFFFFF"/>
                      </a:gs>
                      <a:gs pos="14504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Open Sans" panose="020B0606030504020204" pitchFamily="34" charset="0"/>
                  <a:cs typeface="Open Sans" panose="020B0606030504020204" pitchFamily="34" charset="0"/>
                </a:rPr>
                <a:t>AI safety and security</a:t>
              </a:r>
            </a:p>
          </p:txBody>
        </p:sp>
        <p:sp>
          <p:nvSpPr>
            <p:cNvPr id="60" name="Rectangle: Rounded Corners 36">
              <a:extLst>
                <a:ext uri="{FF2B5EF4-FFF2-40B4-BE49-F238E27FC236}">
                  <a16:creationId xmlns:a16="http://schemas.microsoft.com/office/drawing/2014/main" id="{B8C9FAD8-A0FB-BB54-C48E-85827166C2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4058926"/>
              <a:ext cx="4663440" cy="502920"/>
            </a:xfrm>
            <a:prstGeom prst="roundRect">
              <a:avLst>
                <a:gd name="adj" fmla="val 34091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data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endParaRPr>
            </a:p>
          </p:txBody>
        </p:sp>
        <p:sp>
          <p:nvSpPr>
            <p:cNvPr id="61" name="Rectangle: Rounded Corners 36">
              <a:extLst>
                <a:ext uri="{FF2B5EF4-FFF2-40B4-BE49-F238E27FC236}">
                  <a16:creationId xmlns:a16="http://schemas.microsoft.com/office/drawing/2014/main" id="{98D07FB0-1CF5-6601-E67E-0A518AF3D1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4561846"/>
              <a:ext cx="4663440" cy="502920"/>
            </a:xfrm>
            <a:prstGeom prst="roundRect">
              <a:avLst>
                <a:gd name="adj" fmla="val 3484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Foundation models</a:t>
              </a:r>
            </a:p>
          </p:txBody>
        </p:sp>
        <p:sp>
          <p:nvSpPr>
            <p:cNvPr id="62" name="Rectangle: Rounded Corners 36">
              <a:extLst>
                <a:ext uri="{FF2B5EF4-FFF2-40B4-BE49-F238E27FC236}">
                  <a16:creationId xmlns:a16="http://schemas.microsoft.com/office/drawing/2014/main" id="{9FF37FA7-B0A8-54B8-5B6E-DF6C452912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3537718"/>
              <a:ext cx="4663440" cy="521208"/>
            </a:xfrm>
            <a:prstGeom prst="roundRect">
              <a:avLst>
                <a:gd name="adj" fmla="val 3366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orchestration and toolchain</a:t>
              </a:r>
            </a:p>
          </p:txBody>
        </p:sp>
        <p:sp>
          <p:nvSpPr>
            <p:cNvPr id="63" name="Rectangle: Rounded Corners 36">
              <a:extLst>
                <a:ext uri="{FF2B5EF4-FFF2-40B4-BE49-F238E27FC236}">
                  <a16:creationId xmlns:a16="http://schemas.microsoft.com/office/drawing/2014/main" id="{E7575966-5266-A2C6-CC7D-6D228AF032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624016" y="5064766"/>
              <a:ext cx="4663440" cy="521208"/>
            </a:xfrm>
            <a:prstGeom prst="roundRect">
              <a:avLst>
                <a:gd name="adj" fmla="val 33230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infrastructure</a:t>
              </a:r>
            </a:p>
          </p:txBody>
        </p:sp>
      </p:grpSp>
      <p:sp>
        <p:nvSpPr>
          <p:cNvPr id="2" name="Rounded Rectangle 64">
            <a:extLst>
              <a:ext uri="{FF2B5EF4-FFF2-40B4-BE49-F238E27FC236}">
                <a16:creationId xmlns:a16="http://schemas.microsoft.com/office/drawing/2014/main" id="{BA256196-7E3E-7661-C5C7-8443D03D7A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189111" y="3445850"/>
            <a:ext cx="7454961" cy="2706009"/>
          </a:xfrm>
          <a:prstGeom prst="roundRect">
            <a:avLst>
              <a:gd name="adj" fmla="val 3815"/>
            </a:avLst>
          </a:prstGeom>
          <a:gradFill>
            <a:gsLst>
              <a:gs pos="0">
                <a:srgbClr val="FF5C39">
                  <a:alpha val="40000"/>
                </a:srgbClr>
              </a:gs>
              <a:gs pos="32000">
                <a:srgbClr val="C03BC4">
                  <a:alpha val="40000"/>
                </a:srgbClr>
              </a:gs>
              <a:gs pos="68000">
                <a:srgbClr val="0078D4">
                  <a:alpha val="40000"/>
                </a:srgbClr>
              </a:gs>
              <a:gs pos="95000">
                <a:srgbClr val="399A91">
                  <a:alpha val="40000"/>
                </a:srgbClr>
              </a:gs>
            </a:gsLst>
            <a:lin ang="8100000" scaled="1"/>
          </a:gradFill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A6D1FB0-3E0D-4FEB-E7FF-B9D4A2500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53189" y="1379397"/>
            <a:ext cx="5485622" cy="4885371"/>
            <a:chOff x="9355965" y="1379106"/>
            <a:chExt cx="5486400" cy="4886064"/>
          </a:xfrm>
        </p:grpSpPr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470A5B0-A8C9-0C63-B031-19B258DE6D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767445" y="3537718"/>
              <a:ext cx="4663440" cy="2048256"/>
            </a:xfrm>
            <a:prstGeom prst="roundRect">
              <a:avLst>
                <a:gd name="adj" fmla="val 8367"/>
              </a:avLst>
            </a:prstGeom>
            <a:solidFill>
              <a:srgbClr val="3A4953"/>
            </a:solidFill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cxnSp>
          <p:nvCxnSpPr>
            <p:cNvPr id="86" name="!!Straight Arrow Connector 40">
              <a:extLst>
                <a:ext uri="{FF2B5EF4-FFF2-40B4-BE49-F238E27FC236}">
                  <a16:creationId xmlns:a16="http://schemas.microsoft.com/office/drawing/2014/main" id="{4F2C14EB-C910-6404-4015-436B72E9D6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950325" y="5860126"/>
              <a:ext cx="4297680" cy="0"/>
            </a:xfrm>
            <a:prstGeom prst="straightConnector1">
              <a:avLst/>
            </a:prstGeom>
            <a:noFill/>
            <a:ln w="25400" cap="rnd">
              <a:solidFill>
                <a:srgbClr val="657076"/>
              </a:solidFill>
              <a:prstDash val="solid"/>
              <a:round/>
              <a:headEnd type="arrow" w="lg" len="sm"/>
              <a:tailEnd type="arrow" w="lg" len="sm"/>
            </a:ln>
            <a:effectLst/>
          </p:spPr>
        </p:cxnSp>
        <p:sp>
          <p:nvSpPr>
            <p:cNvPr id="87" name="Rounded Rectangle 64" descr="Copilot stack:&#10;&#10;AI safety and security encompass everything in the Copilot stack. &#10;&#10;Top layer:&#10;- Copilot Studio&#10;- Microsoft Copilot; Your copilots&#10;- Microsoft apps&#10;&#10;Middle layer:&#10;AI orchestration and tools&#10;&#10;The bottom layer:&#10;- Your data&#10;- Foundation models &amp; AI toolchain&#10;- AI infrastructure&#10;&#10;Between each layer are bidirectional arrows.&#10;&#10;Microsoft Cloud is the foundation of the Copilot stack">
              <a:extLst>
                <a:ext uri="{FF2B5EF4-FFF2-40B4-BE49-F238E27FC236}">
                  <a16:creationId xmlns:a16="http://schemas.microsoft.com/office/drawing/2014/main" id="{E41E95B0-DA73-2DD0-90C5-AD6265A87D72}"/>
                </a:ext>
              </a:extLst>
            </p:cNvPr>
            <p:cNvSpPr/>
            <p:nvPr/>
          </p:nvSpPr>
          <p:spPr bwMode="auto">
            <a:xfrm>
              <a:off x="9355965" y="1601730"/>
              <a:ext cx="5486400" cy="4663440"/>
            </a:xfrm>
            <a:prstGeom prst="roundRect">
              <a:avLst>
                <a:gd name="adj" fmla="val 3815"/>
              </a:avLst>
            </a:prstGeom>
            <a:noFill/>
            <a:ln w="1905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518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BB5B1EB7-4A97-6A3F-FC74-814BC39F2D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767445" y="2049767"/>
              <a:ext cx="4663440" cy="1042416"/>
            </a:xfrm>
            <a:prstGeom prst="roundRect">
              <a:avLst>
                <a:gd name="adj" fmla="val 16652"/>
              </a:avLst>
            </a:prstGeom>
            <a:solidFill>
              <a:srgbClr val="3A4953"/>
            </a:solidFill>
            <a:ln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Variable Small Semibol" pitchFamily="2" charset="0"/>
                <a:ea typeface="+mn-ea"/>
                <a:cs typeface="Segoe UI" pitchFamily="34" charset="0"/>
              </a:endParaRPr>
            </a:p>
          </p:txBody>
        </p:sp>
        <p:sp>
          <p:nvSpPr>
            <p:cNvPr id="89" name="Rectangle: Rounded Corners 36">
              <a:extLst>
                <a:ext uri="{FF2B5EF4-FFF2-40B4-BE49-F238E27FC236}">
                  <a16:creationId xmlns:a16="http://schemas.microsoft.com/office/drawing/2014/main" id="{99E80036-730F-7CF1-D473-84230BED2A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Microsoft Copilot</a:t>
              </a:r>
            </a:p>
          </p:txBody>
        </p:sp>
        <p:sp>
          <p:nvSpPr>
            <p:cNvPr id="90" name="Rectangle: Rounded Corners 36">
              <a:extLst>
                <a:ext uri="{FF2B5EF4-FFF2-40B4-BE49-F238E27FC236}">
                  <a16:creationId xmlns:a16="http://schemas.microsoft.com/office/drawing/2014/main" id="{4F8CF71D-6C8C-65AC-3DBD-593C557EDC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099165" y="2570975"/>
              <a:ext cx="2331720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copilots</a:t>
              </a:r>
            </a:p>
          </p:txBody>
        </p:sp>
        <p:sp>
          <p:nvSpPr>
            <p:cNvPr id="91" name="Rectangle: Rounded Corners 36">
              <a:extLst>
                <a:ext uri="{FF2B5EF4-FFF2-40B4-BE49-F238E27FC236}">
                  <a16:creationId xmlns:a16="http://schemas.microsoft.com/office/drawing/2014/main" id="{8E7414A4-8E8E-F147-8650-44B7E0A640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508109" y="2049768"/>
              <a:ext cx="3182112" cy="521208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Copilot extensibility</a:t>
              </a: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B4DBFF4F-791F-4BFF-4E1B-1101A887AE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67445" y="2570975"/>
              <a:ext cx="4663440" cy="521208"/>
              <a:chOff x="3672840" y="2577849"/>
              <a:chExt cx="4846320" cy="365760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D2F76917-3C3A-E147-5F31-06AF42C5970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72840" y="2577849"/>
                <a:ext cx="4846320" cy="0"/>
              </a:xfrm>
              <a:prstGeom prst="line">
                <a:avLst/>
              </a:prstGeom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BC1D6FF-D2B4-9B38-55B2-BA22345E09A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2577849"/>
                <a:ext cx="0" cy="365760"/>
              </a:xfrm>
              <a:prstGeom prst="line">
                <a:avLst/>
              </a:prstGeom>
              <a:ln w="12700" cap="rnd">
                <a:solidFill>
                  <a:srgbClr val="091F2C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E4D3D01-BBE4-CBDF-0158-B0A4B1920E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456184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C112C663-C0AD-DD87-7461-E42632E6F8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506476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96F8C2C-43D9-4D48-1A8D-1516F85D75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9767445" y="4058926"/>
              <a:ext cx="4663440" cy="0"/>
            </a:xfrm>
            <a:prstGeom prst="line">
              <a:avLst/>
            </a:prstGeom>
            <a:ln w="12700" cap="rnd">
              <a:solidFill>
                <a:srgbClr val="091F2C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Rounded Rectangle 62">
              <a:extLst>
                <a:ext uri="{FF2B5EF4-FFF2-40B4-BE49-F238E27FC236}">
                  <a16:creationId xmlns:a16="http://schemas.microsoft.com/office/drawing/2014/main" id="{B9782B95-36CC-6D59-2076-D63A94442B70}"/>
                </a:ext>
              </a:extLst>
            </p:cNvPr>
            <p:cNvSpPr/>
            <p:nvPr/>
          </p:nvSpPr>
          <p:spPr bwMode="auto">
            <a:xfrm>
              <a:off x="10919589" y="1379106"/>
              <a:ext cx="2359152" cy="437120"/>
            </a:xfrm>
            <a:prstGeom prst="roundRect">
              <a:avLst>
                <a:gd name="adj" fmla="val 50000"/>
              </a:avLst>
            </a:prstGeom>
            <a:solidFill>
              <a:srgbClr val="3A4953"/>
            </a:solidFill>
            <a:ln w="44450" cap="rnd">
              <a:noFill/>
              <a:headEnd type="none" w="lg" len="med"/>
              <a:tailEnd type="none" w="lg" len="med"/>
            </a:ln>
            <a:effectLst>
              <a:outerShdw blurRad="63500" dist="63500" dir="2700000" algn="ctr" rotWithShape="0">
                <a:srgbClr val="000000">
                  <a:alpha val="5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290">
                        <a:srgbClr val="FFFFFF"/>
                      </a:gs>
                      <a:gs pos="14504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Open Sans" panose="020B0606030504020204" pitchFamily="34" charset="0"/>
                  <a:cs typeface="Open Sans" panose="020B0606030504020204" pitchFamily="34" charset="0"/>
                </a:rPr>
                <a:t>AI safety and security</a:t>
              </a:r>
            </a:p>
          </p:txBody>
        </p:sp>
        <p:grpSp>
          <p:nvGrpSpPr>
            <p:cNvPr id="99" name="!!Group 13">
              <a:extLst>
                <a:ext uri="{FF2B5EF4-FFF2-40B4-BE49-F238E27FC236}">
                  <a16:creationId xmlns:a16="http://schemas.microsoft.com/office/drawing/2014/main" id="{80EF7E54-C097-2FD5-C406-42F047BD62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2018186" y="3199980"/>
              <a:ext cx="161960" cy="245872"/>
              <a:chOff x="24240907" y="14944739"/>
              <a:chExt cx="489402" cy="892452"/>
            </a:xfrm>
          </p:grpSpPr>
          <p:cxnSp>
            <p:nvCxnSpPr>
              <p:cNvPr id="100" name="Straight Arrow Connector 99">
                <a:extLst>
                  <a:ext uri="{FF2B5EF4-FFF2-40B4-BE49-F238E27FC236}">
                    <a16:creationId xmlns:a16="http://schemas.microsoft.com/office/drawing/2014/main" id="{E1E74365-9B29-40C4-3B59-3FCDBBAC1C6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240907" y="14944739"/>
                <a:ext cx="0" cy="548643"/>
              </a:xfrm>
              <a:prstGeom prst="straightConnector1">
                <a:avLst/>
              </a:prstGeom>
              <a:solidFill>
                <a:srgbClr val="3A4953"/>
              </a:solidFill>
              <a:ln w="25400" cap="rnd">
                <a:solidFill>
                  <a:srgbClr val="657076"/>
                </a:solidFill>
                <a:headEnd type="none" w="lg" len="sm"/>
                <a:tailEnd type="arrow" w="lg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Arrow Connector 100">
                <a:extLst>
                  <a:ext uri="{FF2B5EF4-FFF2-40B4-BE49-F238E27FC236}">
                    <a16:creationId xmlns:a16="http://schemas.microsoft.com/office/drawing/2014/main" id="{0BF37F2F-4F33-AD2B-1D27-B03D0EBDEBE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730309" y="15288548"/>
                <a:ext cx="0" cy="548643"/>
              </a:xfrm>
              <a:prstGeom prst="straightConnector1">
                <a:avLst/>
              </a:prstGeom>
              <a:solidFill>
                <a:srgbClr val="3A4953"/>
              </a:solidFill>
              <a:ln w="25400" cap="rnd">
                <a:solidFill>
                  <a:srgbClr val="657076"/>
                </a:solidFill>
                <a:headEnd type="none" w="lg" len="sm"/>
                <a:tailEnd type="arrow" w="lg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3" name="Rectangle: Rounded Corners 36">
              <a:extLst>
                <a:ext uri="{FF2B5EF4-FFF2-40B4-BE49-F238E27FC236}">
                  <a16:creationId xmlns:a16="http://schemas.microsoft.com/office/drawing/2014/main" id="{AC07911A-5ABC-1FDC-D180-167968233D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4058926"/>
              <a:ext cx="4663440" cy="502920"/>
            </a:xfrm>
            <a:prstGeom prst="roundRect">
              <a:avLst>
                <a:gd name="adj" fmla="val 34091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Your data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797">
                      <a:srgbClr val="FFFFFF"/>
                    </a:gs>
                    <a:gs pos="1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 pitchFamily="34" charset="0"/>
              </a:endParaRPr>
            </a:p>
          </p:txBody>
        </p:sp>
        <p:sp>
          <p:nvSpPr>
            <p:cNvPr id="104" name="Rectangle: Rounded Corners 36">
              <a:extLst>
                <a:ext uri="{FF2B5EF4-FFF2-40B4-BE49-F238E27FC236}">
                  <a16:creationId xmlns:a16="http://schemas.microsoft.com/office/drawing/2014/main" id="{17FD709A-324B-0273-1D21-F29957029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4561846"/>
              <a:ext cx="4663440" cy="502920"/>
            </a:xfrm>
            <a:prstGeom prst="roundRect">
              <a:avLst>
                <a:gd name="adj" fmla="val 3484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Foundation models</a:t>
              </a:r>
            </a:p>
          </p:txBody>
        </p:sp>
        <p:sp>
          <p:nvSpPr>
            <p:cNvPr id="105" name="Rectangle: Rounded Corners 36">
              <a:extLst>
                <a:ext uri="{FF2B5EF4-FFF2-40B4-BE49-F238E27FC236}">
                  <a16:creationId xmlns:a16="http://schemas.microsoft.com/office/drawing/2014/main" id="{C2B3F937-31A0-7F77-AECB-976E8BCD9B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3537718"/>
              <a:ext cx="4663440" cy="521208"/>
            </a:xfrm>
            <a:prstGeom prst="roundRect">
              <a:avLst>
                <a:gd name="adj" fmla="val 33669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orchestration and toolchain</a:t>
              </a:r>
            </a:p>
          </p:txBody>
        </p:sp>
        <p:sp>
          <p:nvSpPr>
            <p:cNvPr id="106" name="Rectangle: Rounded Corners 36">
              <a:extLst>
                <a:ext uri="{FF2B5EF4-FFF2-40B4-BE49-F238E27FC236}">
                  <a16:creationId xmlns:a16="http://schemas.microsoft.com/office/drawing/2014/main" id="{54C1F752-87CB-534B-6EFE-A1300E319F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67445" y="5064766"/>
              <a:ext cx="4663440" cy="521208"/>
            </a:xfrm>
            <a:prstGeom prst="roundRect">
              <a:avLst>
                <a:gd name="adj" fmla="val 33230"/>
              </a:avLst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82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909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797">
                        <a:srgbClr val="FFFFFF"/>
                      </a:gs>
                      <a:gs pos="1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"/>
                  <a:ea typeface="+mn-ea"/>
                  <a:cs typeface="Segoe UI" pitchFamily="34" charset="0"/>
                </a:rPr>
                <a:t>AI infrastructure</a:t>
              </a:r>
            </a:p>
          </p:txBody>
        </p:sp>
      </p:grpSp>
      <p:sp>
        <p:nvSpPr>
          <p:cNvPr id="40" name="!!azure">
            <a:extLst>
              <a:ext uri="{FF2B5EF4-FFF2-40B4-BE49-F238E27FC236}">
                <a16:creationId xmlns:a16="http://schemas.microsoft.com/office/drawing/2014/main" id="{BA4DF5B6-97B1-249A-CBE0-5E8FD6D90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296014" y="5717057"/>
            <a:ext cx="1599973" cy="246221"/>
          </a:xfrm>
          <a:prstGeom prst="rect">
            <a:avLst/>
          </a:prstGeom>
          <a:solidFill>
            <a:srgbClr val="3A495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256338" fontAlgn="base">
              <a:spcBef>
                <a:spcPct val="0"/>
              </a:spcBef>
              <a:spcAft>
                <a:spcPct val="0"/>
              </a:spcAft>
              <a:defRPr sz="4400">
                <a:gradFill>
                  <a:gsLst>
                    <a:gs pos="74138">
                      <a:srgbClr val="FFFFFF"/>
                    </a:gs>
                    <a:gs pos="5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Variable Small Semibol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4504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Open Sans" panose="020B0606030504020204" pitchFamily="34" charset="0"/>
                <a:cs typeface="Open Sans" panose="020B0606030504020204" pitchFamily="34" charset="0"/>
              </a:rPr>
              <a:t>Cloud and Edge</a:t>
            </a:r>
          </a:p>
        </p:txBody>
      </p:sp>
      <p:sp>
        <p:nvSpPr>
          <p:cNvPr id="11" name="Rounded Rectangle 64">
            <a:extLst>
              <a:ext uri="{FF2B5EF4-FFF2-40B4-BE49-F238E27FC236}">
                <a16:creationId xmlns:a16="http://schemas.microsoft.com/office/drawing/2014/main" id="{7ECA5391-89CA-7503-28E9-343CD117E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189111" y="3458926"/>
            <a:ext cx="7454961" cy="2687502"/>
          </a:xfrm>
          <a:prstGeom prst="roundRect">
            <a:avLst>
              <a:gd name="adj" fmla="val 3815"/>
            </a:avLst>
          </a:prstGeom>
          <a:noFill/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95000">
                  <a:srgbClr val="399A9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8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518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27" name="Rounded Rectangle 62">
            <a:extLst>
              <a:ext uri="{FF2B5EF4-FFF2-40B4-BE49-F238E27FC236}">
                <a16:creationId xmlns:a16="http://schemas.microsoft.com/office/drawing/2014/main" id="{A274F9F3-D0D7-F0A0-9D54-888AA044FECF}"/>
              </a:ext>
            </a:extLst>
          </p:cNvPr>
          <p:cNvSpPr/>
          <p:nvPr/>
        </p:nvSpPr>
        <p:spPr bwMode="auto">
          <a:xfrm>
            <a:off x="1453010" y="4931345"/>
            <a:ext cx="1683497" cy="3428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5C39"/>
              </a:gs>
              <a:gs pos="32000">
                <a:srgbClr val="C03BC4"/>
              </a:gs>
              <a:gs pos="68000">
                <a:srgbClr val="0078D4"/>
              </a:gs>
              <a:gs pos="95000">
                <a:srgbClr val="399A91"/>
              </a:gs>
            </a:gsLst>
            <a:lin ang="8100000" scaled="1"/>
          </a:gradFill>
          <a:ln w="44450" cap="rnd">
            <a:noFill/>
            <a:headEnd type="none" w="lg" len="med"/>
            <a:tailEnd type="none" w="lg" len="med"/>
          </a:ln>
          <a:effectLst>
            <a:outerShdw blurRad="63500" dist="63500" dir="2700000" algn="ctr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18285" rIns="0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0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290">
                      <a:srgbClr val="FFFFFF"/>
                    </a:gs>
                    <a:gs pos="14504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Open Sans" panose="020B0606030504020204" pitchFamily="34" charset="0"/>
                <a:cs typeface="Open Sans" panose="020B0606030504020204" pitchFamily="34" charset="0"/>
              </a:rPr>
              <a:t>Azure AI Studio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95CC64E-AA29-3529-CE61-23426CD25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31292" y="4328848"/>
            <a:ext cx="526932" cy="52693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033574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D5EA667-63B9-E8DC-27C2-FC2F0907F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9720801">
            <a:off x="-1542218" y="-4418779"/>
            <a:ext cx="16190834" cy="14626420"/>
            <a:chOff x="-6806100" y="232533"/>
            <a:chExt cx="3322111" cy="300112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0487CB-EA25-17CE-C748-BF48B218FBF4}"/>
                </a:ext>
              </a:extLst>
            </p:cNvPr>
            <p:cNvGrpSpPr/>
            <p:nvPr/>
          </p:nvGrpSpPr>
          <p:grpSpPr>
            <a:xfrm rot="15313653">
              <a:off x="-6654420" y="298466"/>
              <a:ext cx="2935187" cy="2935188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A0AFEB8C-F709-2F64-851F-3715B13D2697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41" name="Graphic 140">
                  <a:extLst>
                    <a:ext uri="{FF2B5EF4-FFF2-40B4-BE49-F238E27FC236}">
                      <a16:creationId xmlns:a16="http://schemas.microsoft.com/office/drawing/2014/main" id="{4F45A246-D5E7-7E8D-AF5B-8B2643BDC0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42" name="Graphic 141">
                  <a:extLst>
                    <a:ext uri="{FF2B5EF4-FFF2-40B4-BE49-F238E27FC236}">
                      <a16:creationId xmlns:a16="http://schemas.microsoft.com/office/drawing/2014/main" id="{22B2F52D-EFB3-EA33-E35E-554F188C0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8C7EF565-BBBF-6AA6-FE5D-AC78A348485E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39" name="Graphic 138">
                  <a:extLst>
                    <a:ext uri="{FF2B5EF4-FFF2-40B4-BE49-F238E27FC236}">
                      <a16:creationId xmlns:a16="http://schemas.microsoft.com/office/drawing/2014/main" id="{5E864484-F204-D81A-6454-CB09CB37E8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40" name="Graphic 139">
                  <a:extLst>
                    <a:ext uri="{FF2B5EF4-FFF2-40B4-BE49-F238E27FC236}">
                      <a16:creationId xmlns:a16="http://schemas.microsoft.com/office/drawing/2014/main" id="{ED458712-65FC-F0CF-7E64-FD964A3DC1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E3C2B10E-D7B1-130F-C922-8F9D7912CACF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37" name="Graphic 136">
                  <a:extLst>
                    <a:ext uri="{FF2B5EF4-FFF2-40B4-BE49-F238E27FC236}">
                      <a16:creationId xmlns:a16="http://schemas.microsoft.com/office/drawing/2014/main" id="{435D09ED-24AF-919A-A8B4-D9C292CD5A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38" name="Graphic 137">
                  <a:extLst>
                    <a:ext uri="{FF2B5EF4-FFF2-40B4-BE49-F238E27FC236}">
                      <a16:creationId xmlns:a16="http://schemas.microsoft.com/office/drawing/2014/main" id="{50CCC9E8-7C76-647B-9262-EA571ABA96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" name="Graphic 5">
              <a:extLst>
                <a:ext uri="{FF2B5EF4-FFF2-40B4-BE49-F238E27FC236}">
                  <a16:creationId xmlns:a16="http://schemas.microsoft.com/office/drawing/2014/main" id="{984FB507-AE43-CB63-B1D7-893D4CC15365}"/>
                </a:ext>
              </a:extLst>
            </p:cNvPr>
            <p:cNvGrpSpPr/>
            <p:nvPr/>
          </p:nvGrpSpPr>
          <p:grpSpPr>
            <a:xfrm rot="17096485">
              <a:off x="-6289090" y="799971"/>
              <a:ext cx="2039457" cy="2103885"/>
              <a:chOff x="4071312" y="2489702"/>
              <a:chExt cx="3527293" cy="3638722"/>
            </a:xfrm>
            <a:noFill/>
          </p:grpSpPr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8A1CE4F4-B4A1-16AA-6884-6E708EF84DE5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BAAA52C3-682A-2789-93C2-4999DD80364D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5136CDD-A623-2221-751B-4976ECE673A3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469AB489-B7E6-BE4E-1009-1F5C019F2071}"/>
                  </a:ext>
                </a:extLst>
              </p:cNvPr>
              <p:cNvSpPr/>
              <p:nvPr/>
            </p:nvSpPr>
            <p:spPr>
              <a:xfrm>
                <a:off x="4185926" y="2623531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F10EDFF9-BAD7-7BD6-32F6-6358325037C6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E5B2BA0C-1054-FE72-2993-5F9284A08CF2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31FC00A3-BA72-9F6F-AAA9-373314270D29}"/>
                  </a:ext>
                </a:extLst>
              </p:cNvPr>
              <p:cNvSpPr/>
              <p:nvPr/>
            </p:nvSpPr>
            <p:spPr>
              <a:xfrm>
                <a:off x="4297186" y="2745781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8F0445B9-5BD3-51A5-835F-9E03CB21EDD3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DAC2260-F49A-B170-22B0-A5C58263F8B1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9FD6AC98-48B4-783F-08D6-FC842EFA1468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DA9086D0-F3F0-C012-14D0-195D06834856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E9CB406A-ACCF-3C99-E9D8-D4E01668BF86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940AE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50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aphic 5">
              <a:extLst>
                <a:ext uri="{FF2B5EF4-FFF2-40B4-BE49-F238E27FC236}">
                  <a16:creationId xmlns:a16="http://schemas.microsoft.com/office/drawing/2014/main" id="{6255FD93-C037-B3F1-DCA1-0C81FB881D0B}"/>
                </a:ext>
              </a:extLst>
            </p:cNvPr>
            <p:cNvGrpSpPr/>
            <p:nvPr/>
          </p:nvGrpSpPr>
          <p:grpSpPr>
            <a:xfrm rot="1530955">
              <a:off x="-6413599" y="569189"/>
              <a:ext cx="2476400" cy="2415487"/>
              <a:chOff x="4270587" y="2574268"/>
              <a:chExt cx="3544376" cy="3457192"/>
            </a:xfrm>
            <a:noFill/>
          </p:grpSpPr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EC82E6D4-6704-9612-4D9C-78663AC7D3E0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67E332D-AEFA-746D-77B0-581F155AA042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CC23D9D-5A59-286A-4EBA-5F0AF4020516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6B4EED5F-F692-F9FB-499F-BF6CBC110371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D5917F6C-6984-E32E-1525-0A6981597B95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64CA569B-273B-F50E-F20A-8163DC6F3F68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A075F9BF-B74A-54A1-C785-E37BF61798DF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EB8C85DE-B0E5-0460-52BB-E474FBD5BC7F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F167FD79-16BB-9AF2-5FFA-C1F4BA17C59D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2F550DDC-B8F1-D7AE-6728-579978152AD7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5466C37E-8D48-FCC2-691A-772F31C746CC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5B5DA93E-2F67-7AB4-37A2-932915818EC5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C73FB1">
                        <a:alpha val="0"/>
                      </a:srgbClr>
                    </a:gs>
                    <a:gs pos="25000">
                      <a:schemeClr val="accent5">
                        <a:alpha val="0"/>
                      </a:schemeClr>
                    </a:gs>
                    <a:gs pos="50000">
                      <a:srgbClr val="D44690">
                        <a:alpha val="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2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1AFEDAC2-5695-6ACB-380E-ADCE520D3AF3}"/>
                </a:ext>
              </a:extLst>
            </p:cNvPr>
            <p:cNvGrpSpPr/>
            <p:nvPr/>
          </p:nvGrpSpPr>
          <p:grpSpPr>
            <a:xfrm rot="493675">
              <a:off x="-6806100" y="683790"/>
              <a:ext cx="3322111" cy="2161676"/>
              <a:chOff x="3224705" y="2448010"/>
              <a:chExt cx="5745675" cy="3738674"/>
            </a:xfrm>
            <a:noFill/>
          </p:grpSpPr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7EB0336-C450-C9A6-44CB-3061653ACC64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EB7F9F4-0070-8A2A-E126-87239B2B91D8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EB37E127-39DD-B986-3674-AD2888B452CB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EC65E87E-ACFE-6444-C3DC-0CB76AC86D73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A100E6C-6CAE-9016-654E-763BEE94448C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AC90BB0D-FF7C-39BF-7F73-59E2E3D8DF8D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0D1D95A4-EA74-9167-B676-965B29BCC34B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25FD23BB-0EA0-C027-1F43-926133128487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96FF67E1-4B08-F6DE-682A-A88DDF6869D2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14F9AEAD-9E19-6C35-DB25-0AD6A7F440FF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743AEC43-8F92-12BC-3E8F-7C1FB35A0318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3B48B790-DEDB-AA8C-C03D-05EB775FB14A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4600">
                      <a:schemeClr val="accent5">
                        <a:alpha val="0"/>
                      </a:schemeClr>
                    </a:gs>
                    <a:gs pos="75000">
                      <a:srgbClr val="CB41A9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6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aphic 5">
              <a:extLst>
                <a:ext uri="{FF2B5EF4-FFF2-40B4-BE49-F238E27FC236}">
                  <a16:creationId xmlns:a16="http://schemas.microsoft.com/office/drawing/2014/main" id="{65168EC5-3C0A-775D-196E-F6E52B15B39A}"/>
                </a:ext>
              </a:extLst>
            </p:cNvPr>
            <p:cNvGrpSpPr/>
            <p:nvPr/>
          </p:nvGrpSpPr>
          <p:grpSpPr>
            <a:xfrm rot="2104378">
              <a:off x="-6412178" y="232533"/>
              <a:ext cx="2239898" cy="2863531"/>
              <a:chOff x="4061078" y="1549502"/>
              <a:chExt cx="3873961" cy="4952549"/>
            </a:xfrm>
            <a:noFill/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AA96A57D-164D-9866-C93C-03F3092E33BC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22384B4B-B779-BAD1-6C50-49DA4E4963A6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1609EF5-9EF8-8AE5-DCC6-55B2F4507A3F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D413F12-B46E-5B0B-3BBA-632DD3B87CF4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138962B-518C-127E-0CFC-15B26183947A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1D977344-644A-5DE5-69AE-7B28F5BA42FD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0348FFC0-5819-AF4D-5B56-FACDBCD5729A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D85068FD-DCDC-C7C4-A8E7-9ED856BC25C9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0E13882-7884-0ED4-FA90-86CB33664D13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D6DBC872-66DB-A113-4199-B1359D0D0CAD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3A1D19C7-B915-5ED2-6EDD-88A0F70EF92D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842876BD-F140-4F0D-A827-2C2FFC85836C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chemeClr val="accent5">
                        <a:alpha val="0"/>
                      </a:schemeClr>
                    </a:gs>
                    <a:gs pos="75000">
                      <a:srgbClr val="C73FB1">
                        <a:alpha val="0"/>
                      </a:srgbClr>
                    </a:gs>
                    <a:gs pos="50000">
                      <a:srgbClr val="D44690">
                        <a:alpha val="50000"/>
                      </a:srgbClr>
                    </a:gs>
                    <a:gs pos="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accent6">
                        <a:alpha val="47000"/>
                      </a:scheme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3EC44290-9834-597F-3177-2D3DAC763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Sans Text Semibold" pitchFamily="2" charset="0"/>
              <a:ea typeface="+mn-ea"/>
              <a:cs typeface="Segoe Sans Text Semibold" pitchFamily="2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BF2BA10-4B99-1359-E2F9-DB5521EF5B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6900" y="1745152"/>
            <a:ext cx="838200" cy="838200"/>
          </a:xfrm>
          <a:prstGeom prst="rect">
            <a:avLst/>
          </a:prstGeom>
        </p:spPr>
      </p:pic>
      <p:sp>
        <p:nvSpPr>
          <p:cNvPr id="82" name="Title 6">
            <a:extLst>
              <a:ext uri="{FF2B5EF4-FFF2-40B4-BE49-F238E27FC236}">
                <a16:creationId xmlns:a16="http://schemas.microsoft.com/office/drawing/2014/main" id="{CB98ADF8-CC6A-7B3C-4FE5-B94C7C4361B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03275" y="2679700"/>
            <a:ext cx="10585450" cy="738188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800" b="0" kern="1200" cap="none" spc="-50" baseline="0">
                <a:ln w="3175">
                  <a:noFill/>
                </a:ln>
                <a:gradFill>
                  <a:gsLst>
                    <a:gs pos="4321">
                      <a:srgbClr val="000000"/>
                    </a:gs>
                    <a:gs pos="21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Sans Text Semibold" pitchFamily="2" charset="0"/>
                <a:ea typeface="+mn-ea"/>
                <a:cs typeface="Segoe Sans Text" pitchFamily="2" charset="0"/>
              </a:rPr>
              <a:t>Azure AI Studio</a:t>
            </a:r>
          </a:p>
        </p:txBody>
      </p:sp>
      <p:sp>
        <p:nvSpPr>
          <p:cNvPr id="81" name="Title 3">
            <a:extLst>
              <a:ext uri="{FF2B5EF4-FFF2-40B4-BE49-F238E27FC236}">
                <a16:creationId xmlns:a16="http://schemas.microsoft.com/office/drawing/2014/main" id="{5358981E-9970-256A-39EE-59874C72CBF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auto">
          <a:xfrm>
            <a:off x="4171950" y="1000735"/>
            <a:ext cx="3848100" cy="439091"/>
          </a:xfrm>
          <a:prstGeom prst="roundRect">
            <a:avLst>
              <a:gd name="adj" fmla="val 34737"/>
            </a:avLst>
          </a:prstGeom>
          <a:gradFill flip="none" rotWithShape="1">
            <a:gsLst>
              <a:gs pos="0">
                <a:schemeClr val="accent5"/>
              </a:gs>
              <a:gs pos="50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 w="63897" cap="flat">
            <a:noFill/>
            <a:prstDash val="solid"/>
            <a:miter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Sans Text" pitchFamily="2" charset="0"/>
              </a:rPr>
              <a:t>Generally available</a:t>
            </a:r>
          </a:p>
        </p:txBody>
      </p:sp>
      <p:sp>
        <p:nvSpPr>
          <p:cNvPr id="83" name="Title 1">
            <a:extLst>
              <a:ext uri="{FF2B5EF4-FFF2-40B4-BE49-F238E27FC236}">
                <a16:creationId xmlns:a16="http://schemas.microsoft.com/office/drawing/2014/main" id="{602D36F6-7BB8-AB5A-4933-D7851F639734}"/>
              </a:ext>
            </a:extLst>
          </p:cNvPr>
          <p:cNvSpPr txBox="1">
            <a:spLocks/>
          </p:cNvSpPr>
          <p:nvPr/>
        </p:nvSpPr>
        <p:spPr>
          <a:xfrm>
            <a:off x="563561" y="3377559"/>
            <a:ext cx="11064875" cy="7239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i="0" kern="1200" cap="none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Segoe Sans Display" pitchFamily="2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CA" sz="24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F4364F"/>
                    </a:gs>
                    <a:gs pos="50000">
                      <a:srgbClr val="C03BC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Sans Text Semibold" pitchFamily="2" charset="0"/>
                <a:ea typeface="+mj-ea"/>
                <a:cs typeface="Segoe Sans Text" pitchFamily="2" charset="0"/>
              </a:rPr>
              <a:t>A comprehensive platform to develop and deploy custom copilot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A879106-E05F-0EF8-3454-1CAF237A9A87}"/>
              </a:ext>
            </a:extLst>
          </p:cNvPr>
          <p:cNvSpPr txBox="1"/>
          <p:nvPr/>
        </p:nvSpPr>
        <p:spPr>
          <a:xfrm>
            <a:off x="822836" y="4310281"/>
            <a:ext cx="2081944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API and model choic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B7BBC90-C183-FB71-0FDA-A29255EB6B63}"/>
              </a:ext>
            </a:extLst>
          </p:cNvPr>
          <p:cNvSpPr txBox="1"/>
          <p:nvPr/>
        </p:nvSpPr>
        <p:spPr>
          <a:xfrm>
            <a:off x="3766751" y="4310281"/>
            <a:ext cx="18288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Complete AI toolchai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B404481-46CB-07C8-2509-95FA17C3C416}"/>
              </a:ext>
            </a:extLst>
          </p:cNvPr>
          <p:cNvSpPr txBox="1"/>
          <p:nvPr/>
        </p:nvSpPr>
        <p:spPr>
          <a:xfrm>
            <a:off x="6310271" y="4310281"/>
            <a:ext cx="2421752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Responsible AI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tools and practic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05640C6-BDCF-D4C3-207A-F24D589971AA}"/>
              </a:ext>
            </a:extLst>
          </p:cNvPr>
          <p:cNvSpPr txBox="1"/>
          <p:nvPr/>
        </p:nvSpPr>
        <p:spPr>
          <a:xfrm>
            <a:off x="9068532" y="4310281"/>
            <a:ext cx="2540856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Enterprise-grade production at scale</a:t>
            </a:r>
          </a:p>
        </p:txBody>
      </p:sp>
      <p:cxnSp>
        <p:nvCxnSpPr>
          <p:cNvPr id="88" name="!!Straight Connector 49">
            <a:extLst>
              <a:ext uri="{FF2B5EF4-FFF2-40B4-BE49-F238E27FC236}">
                <a16:creationId xmlns:a16="http://schemas.microsoft.com/office/drawing/2014/main" id="{E9FB3580-1E9F-D6D5-059F-A497CEE43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256777" y="4248953"/>
            <a:ext cx="0" cy="676656"/>
          </a:xfrm>
          <a:prstGeom prst="line">
            <a:avLst/>
          </a:prstGeom>
          <a:ln w="12700" cap="rnd">
            <a:solidFill>
              <a:srgbClr val="D9D9D6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!!Straight Connector 49">
            <a:extLst>
              <a:ext uri="{FF2B5EF4-FFF2-40B4-BE49-F238E27FC236}">
                <a16:creationId xmlns:a16="http://schemas.microsoft.com/office/drawing/2014/main" id="{998F5CF4-11A4-3640-AF3E-70E1FC5D5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05524" y="4248953"/>
            <a:ext cx="0" cy="676656"/>
          </a:xfrm>
          <a:prstGeom prst="line">
            <a:avLst/>
          </a:prstGeom>
          <a:ln w="12700" cap="rnd">
            <a:solidFill>
              <a:srgbClr val="D9D9D6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!!Straight Connector 49">
            <a:extLst>
              <a:ext uri="{FF2B5EF4-FFF2-40B4-BE49-F238E27FC236}">
                <a16:creationId xmlns:a16="http://schemas.microsoft.com/office/drawing/2014/main" id="{BD3C3556-14C3-986A-4FC8-A93FB34AE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25696" y="4248953"/>
            <a:ext cx="0" cy="676656"/>
          </a:xfrm>
          <a:prstGeom prst="line">
            <a:avLst/>
          </a:prstGeom>
          <a:ln w="12700" cap="rnd">
            <a:solidFill>
              <a:srgbClr val="D9D9D6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10A9F0A5-9120-ED51-3477-5E1EB20284CE}"/>
              </a:ext>
            </a:extLst>
          </p:cNvPr>
          <p:cNvSpPr txBox="1"/>
          <p:nvPr/>
        </p:nvSpPr>
        <p:spPr>
          <a:xfrm>
            <a:off x="2690052" y="5612947"/>
            <a:ext cx="681189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 pitchFamily="2" charset="0"/>
                <a:ea typeface="+mn-ea"/>
                <a:cs typeface="+mn-cs"/>
              </a:rPr>
              <a:t>AI.Azure.com</a:t>
            </a:r>
          </a:p>
        </p:txBody>
      </p:sp>
    </p:spTree>
    <p:extLst>
      <p:ext uri="{BB962C8B-B14F-4D97-AF65-F5344CB8AC3E}">
        <p14:creationId xmlns:p14="http://schemas.microsoft.com/office/powerpoint/2010/main" val="5840202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7.40741E-7 L 0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4.44444E-6 L 0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6" presetClass="entr" presetSubtype="4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-1.48148E-6 L 2.5E-6 0.01968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6" presetClass="entr" presetSubtype="4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25E-6 -1.48148E-6 L -1.25E-6 0.0196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6" presetClass="entr" presetSubtype="42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1.25E-6 -1.48148E-6 L -1.25E-6 0.01968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0 2.22222E-6 L 0 0.03541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58333E-6 1.11022E-16 L -4.58333E-6 0.01968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375E-6 1.11022E-16 L -4.375E-6 0.01968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125E-6 1.11022E-16 L 3.125E-6 0.01968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33333E-6 1.11022E-16 L 3.33333E-6 0.01968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2.22222E-6 L 0 0.03541 " pathEditMode="relative" rAng="0" ptsTypes="AA">
                                      <p:cBhvr>
                                        <p:cTn id="59" dur="700" spd="-100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3.7037E-7 L 0 0.03542 " pathEditMode="relative" rAng="0" ptsTypes="AA">
                                      <p:cBhvr>
                                        <p:cTn id="64" dur="700" spd="-100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82" grpId="1"/>
      <p:bldP spid="81" grpId="0" animBg="1"/>
      <p:bldP spid="81" grpId="1" animBg="1"/>
      <p:bldP spid="83" grpId="0"/>
      <p:bldP spid="83" grpId="1"/>
      <p:bldP spid="84" grpId="0"/>
      <p:bldP spid="84" grpId="1"/>
      <p:bldP spid="85" grpId="0"/>
      <p:bldP spid="85" grpId="1"/>
      <p:bldP spid="86" grpId="0"/>
      <p:bldP spid="86" grpId="1"/>
      <p:bldP spid="87" grpId="0"/>
      <p:bldP spid="87" grpId="1"/>
      <p:bldP spid="91" grpId="0"/>
      <p:bldP spid="91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8B49CB-ECAE-4E44-7D25-746D3A2960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B9630-8163-72B9-C7E1-63CE55DFB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How to start?</a:t>
            </a:r>
          </a:p>
        </p:txBody>
      </p:sp>
      <p:sp>
        <p:nvSpPr>
          <p:cNvPr id="4" name="Rounded Rectangle 42">
            <a:extLst>
              <a:ext uri="{FF2B5EF4-FFF2-40B4-BE49-F238E27FC236}">
                <a16:creationId xmlns:a16="http://schemas.microsoft.com/office/drawing/2014/main" id="{91137691-D839-466E-D685-48BAAC3F78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40" y="1753735"/>
            <a:ext cx="2426552" cy="775110"/>
          </a:xfrm>
          <a:prstGeom prst="roundRect">
            <a:avLst>
              <a:gd name="adj" fmla="val 6006"/>
            </a:avLst>
          </a:prstGeom>
          <a:solidFill>
            <a:srgbClr val="FDFDFD"/>
          </a:solidFill>
          <a:ln w="38100">
            <a:gradFill flip="none" rotWithShape="1">
              <a:gsLst>
                <a:gs pos="0">
                  <a:schemeClr val="accent6"/>
                </a:gs>
                <a:gs pos="100000">
                  <a:schemeClr val="tx2"/>
                </a:gs>
              </a:gsLst>
              <a:lin ang="2700000" scaled="1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5" name="Rounded Rectangle 50">
            <a:extLst>
              <a:ext uri="{FF2B5EF4-FFF2-40B4-BE49-F238E27FC236}">
                <a16:creationId xmlns:a16="http://schemas.microsoft.com/office/drawing/2014/main" id="{CE3E381F-D45E-197B-D4CB-07D641777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2667692"/>
            <a:ext cx="2426552" cy="775110"/>
          </a:xfrm>
          <a:prstGeom prst="roundRect">
            <a:avLst>
              <a:gd name="adj" fmla="val 6006"/>
            </a:avLst>
          </a:prstGeom>
          <a:solidFill>
            <a:srgbClr val="FDFDFD"/>
          </a:solidFill>
          <a:ln w="38100">
            <a:gradFill flip="none" rotWithShape="1">
              <a:gsLst>
                <a:gs pos="0">
                  <a:schemeClr val="accent6"/>
                </a:gs>
                <a:gs pos="100000">
                  <a:schemeClr val="tx2"/>
                </a:gs>
              </a:gsLst>
              <a:lin ang="2700000" scaled="1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6" name="Freeform 32">
            <a:extLst>
              <a:ext uri="{FF2B5EF4-FFF2-40B4-BE49-F238E27FC236}">
                <a16:creationId xmlns:a16="http://schemas.microsoft.com/office/drawing/2014/main" id="{00D3C2B0-0D44-D22C-22C6-B646A8B63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5447" y="1219112"/>
            <a:ext cx="11121661" cy="455201"/>
          </a:xfrm>
          <a:custGeom>
            <a:avLst/>
            <a:gdLst>
              <a:gd name="connsiteX0" fmla="*/ 8659728 w 11558016"/>
              <a:gd name="connsiteY0" fmla="*/ 0 h 446316"/>
              <a:gd name="connsiteX1" fmla="*/ 11558016 w 11558016"/>
              <a:gd name="connsiteY1" fmla="*/ 0 h 446316"/>
              <a:gd name="connsiteX2" fmla="*/ 11558016 w 11558016"/>
              <a:gd name="connsiteY2" fmla="*/ 446316 h 446316"/>
              <a:gd name="connsiteX3" fmla="*/ 8659731 w 11558016"/>
              <a:gd name="connsiteY3" fmla="*/ 446316 h 446316"/>
              <a:gd name="connsiteX4" fmla="*/ 8904889 w 11558016"/>
              <a:gd name="connsiteY4" fmla="*/ 223160 h 446316"/>
              <a:gd name="connsiteX5" fmla="*/ 5772145 w 11558016"/>
              <a:gd name="connsiteY5" fmla="*/ 0 h 446316"/>
              <a:gd name="connsiteX6" fmla="*/ 8461824 w 11558016"/>
              <a:gd name="connsiteY6" fmla="*/ 0 h 446316"/>
              <a:gd name="connsiteX7" fmla="*/ 8706985 w 11558016"/>
              <a:gd name="connsiteY7" fmla="*/ 223160 h 446316"/>
              <a:gd name="connsiteX8" fmla="*/ 8461827 w 11558016"/>
              <a:gd name="connsiteY8" fmla="*/ 446316 h 446316"/>
              <a:gd name="connsiteX9" fmla="*/ 5772146 w 11558016"/>
              <a:gd name="connsiteY9" fmla="*/ 446316 h 446316"/>
              <a:gd name="connsiteX10" fmla="*/ 6017305 w 11558016"/>
              <a:gd name="connsiteY10" fmla="*/ 223159 h 446316"/>
              <a:gd name="connsiteX11" fmla="*/ 2873647 w 11558016"/>
              <a:gd name="connsiteY11" fmla="*/ 0 h 446316"/>
              <a:gd name="connsiteX12" fmla="*/ 5574240 w 11558016"/>
              <a:gd name="connsiteY12" fmla="*/ 0 h 446316"/>
              <a:gd name="connsiteX13" fmla="*/ 5819400 w 11558016"/>
              <a:gd name="connsiteY13" fmla="*/ 223159 h 446316"/>
              <a:gd name="connsiteX14" fmla="*/ 5574241 w 11558016"/>
              <a:gd name="connsiteY14" fmla="*/ 446316 h 446316"/>
              <a:gd name="connsiteX15" fmla="*/ 2873650 w 11558016"/>
              <a:gd name="connsiteY15" fmla="*/ 446316 h 446316"/>
              <a:gd name="connsiteX16" fmla="*/ 3118808 w 11558016"/>
              <a:gd name="connsiteY16" fmla="*/ 223160 h 446316"/>
              <a:gd name="connsiteX17" fmla="*/ 0 w 11558016"/>
              <a:gd name="connsiteY17" fmla="*/ 0 h 446316"/>
              <a:gd name="connsiteX18" fmla="*/ 2675742 w 11558016"/>
              <a:gd name="connsiteY18" fmla="*/ 0 h 446316"/>
              <a:gd name="connsiteX19" fmla="*/ 2920903 w 11558016"/>
              <a:gd name="connsiteY19" fmla="*/ 223160 h 446316"/>
              <a:gd name="connsiteX20" fmla="*/ 2675745 w 11558016"/>
              <a:gd name="connsiteY20" fmla="*/ 446316 h 446316"/>
              <a:gd name="connsiteX21" fmla="*/ 0 w 11558016"/>
              <a:gd name="connsiteY21" fmla="*/ 446316 h 4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558016" h="446316">
                <a:moveTo>
                  <a:pt x="8659728" y="0"/>
                </a:moveTo>
                <a:lnTo>
                  <a:pt x="11558016" y="0"/>
                </a:lnTo>
                <a:lnTo>
                  <a:pt x="11558016" y="446316"/>
                </a:lnTo>
                <a:lnTo>
                  <a:pt x="8659731" y="446316"/>
                </a:lnTo>
                <a:lnTo>
                  <a:pt x="8904889" y="223160"/>
                </a:lnTo>
                <a:close/>
                <a:moveTo>
                  <a:pt x="5772145" y="0"/>
                </a:moveTo>
                <a:lnTo>
                  <a:pt x="8461824" y="0"/>
                </a:lnTo>
                <a:lnTo>
                  <a:pt x="8706985" y="223160"/>
                </a:lnTo>
                <a:lnTo>
                  <a:pt x="8461827" y="446316"/>
                </a:lnTo>
                <a:lnTo>
                  <a:pt x="5772146" y="446316"/>
                </a:lnTo>
                <a:lnTo>
                  <a:pt x="6017305" y="223159"/>
                </a:lnTo>
                <a:close/>
                <a:moveTo>
                  <a:pt x="2873647" y="0"/>
                </a:moveTo>
                <a:lnTo>
                  <a:pt x="5574240" y="0"/>
                </a:lnTo>
                <a:lnTo>
                  <a:pt x="5819400" y="223159"/>
                </a:lnTo>
                <a:lnTo>
                  <a:pt x="5574241" y="446316"/>
                </a:lnTo>
                <a:lnTo>
                  <a:pt x="2873650" y="446316"/>
                </a:lnTo>
                <a:lnTo>
                  <a:pt x="3118808" y="223160"/>
                </a:lnTo>
                <a:close/>
                <a:moveTo>
                  <a:pt x="0" y="0"/>
                </a:moveTo>
                <a:lnTo>
                  <a:pt x="2675742" y="0"/>
                </a:lnTo>
                <a:lnTo>
                  <a:pt x="2920903" y="223160"/>
                </a:lnTo>
                <a:lnTo>
                  <a:pt x="2675745" y="446316"/>
                </a:lnTo>
                <a:lnTo>
                  <a:pt x="0" y="44631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19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7" name="Rounded Rectangle 43">
            <a:extLst>
              <a:ext uri="{FF2B5EF4-FFF2-40B4-BE49-F238E27FC236}">
                <a16:creationId xmlns:a16="http://schemas.microsoft.com/office/drawing/2014/main" id="{B45B1FF2-B70C-86EE-00EF-78D0F7356E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4" y="5348491"/>
            <a:ext cx="2426552" cy="775110"/>
          </a:xfrm>
          <a:prstGeom prst="roundRect">
            <a:avLst>
              <a:gd name="adj" fmla="val 6006"/>
            </a:avLst>
          </a:prstGeom>
          <a:noFill/>
          <a:ln w="190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8" name="Rounded Rectangle 44">
            <a:extLst>
              <a:ext uri="{FF2B5EF4-FFF2-40B4-BE49-F238E27FC236}">
                <a16:creationId xmlns:a16="http://schemas.microsoft.com/office/drawing/2014/main" id="{F720F2C4-D87F-545C-1B48-F3808CA11E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5" y="4449803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9" name="Rounded Rectangle 45">
            <a:extLst>
              <a:ext uri="{FF2B5EF4-FFF2-40B4-BE49-F238E27FC236}">
                <a16:creationId xmlns:a16="http://schemas.microsoft.com/office/drawing/2014/main" id="{7F388B5E-029F-A3B1-544D-27B5B85C85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7" y="2652424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0" name="Rounded Rectangle 46">
            <a:extLst>
              <a:ext uri="{FF2B5EF4-FFF2-40B4-BE49-F238E27FC236}">
                <a16:creationId xmlns:a16="http://schemas.microsoft.com/office/drawing/2014/main" id="{A1BD4579-9B7C-4ED8-0999-A993CC6984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6" y="3551113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1" name="Rounded Rectangle 51">
            <a:extLst>
              <a:ext uri="{FF2B5EF4-FFF2-40B4-BE49-F238E27FC236}">
                <a16:creationId xmlns:a16="http://schemas.microsoft.com/office/drawing/2014/main" id="{1C607699-CA4F-5E5E-C810-ADD15844D4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1767356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2" name="Rounded Rectangle 52">
            <a:extLst>
              <a:ext uri="{FF2B5EF4-FFF2-40B4-BE49-F238E27FC236}">
                <a16:creationId xmlns:a16="http://schemas.microsoft.com/office/drawing/2014/main" id="{B3729A5B-E82D-2DEC-5B5F-C55DBAE6E5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3560354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0E58F0E5-ACD6-DDC5-8460-A51488B994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4460689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4" name="Rounded Rectangle 27">
            <a:extLst>
              <a:ext uri="{FF2B5EF4-FFF2-40B4-BE49-F238E27FC236}">
                <a16:creationId xmlns:a16="http://schemas.microsoft.com/office/drawing/2014/main" id="{07F160FA-AE01-9D89-4597-33A384A6D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5342692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8FBB5FD-2B5F-1872-82F8-82BD278B7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529123" y="1666754"/>
            <a:ext cx="0" cy="4203595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AF9CDD1-4F11-F2D7-7DAF-BB6CB2CD6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0381010" y="1666754"/>
            <a:ext cx="0" cy="3959601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5B0C9E9A-531E-818A-239D-4E0765848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2753970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D318B66-1C1F-49E6-BEBF-B8C8944995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3770912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53" name="Rectangle: Rounded Corners 12" descr="GenAI Model Store">
            <a:extLst>
              <a:ext uri="{FF2B5EF4-FFF2-40B4-BE49-F238E27FC236}">
                <a16:creationId xmlns:a16="http://schemas.microsoft.com/office/drawing/2014/main" id="{1953714A-8063-77B8-A6B3-91E298294FA1}"/>
              </a:ext>
            </a:extLst>
          </p:cNvPr>
          <p:cNvSpPr/>
          <p:nvPr/>
        </p:nvSpPr>
        <p:spPr>
          <a:xfrm>
            <a:off x="9799855" y="572065"/>
            <a:ext cx="1907253" cy="3672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2700000" scaled="0"/>
            <a:tileRect/>
          </a:gradFill>
          <a:ln w="38100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Sans Text Semibold" pitchFamily="2" charset="0"/>
              </a:rPr>
              <a:t>Enterprise 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45C18-2AD8-67B3-D92C-E010329C2900}"/>
              </a:ext>
            </a:extLst>
          </p:cNvPr>
          <p:cNvSpPr txBox="1"/>
          <p:nvPr/>
        </p:nvSpPr>
        <p:spPr>
          <a:xfrm>
            <a:off x="724344" y="1290676"/>
            <a:ext cx="2462367" cy="3120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Select your chat model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00DA914-7500-BACB-2B06-6136C20A35E8}"/>
              </a:ext>
            </a:extLst>
          </p:cNvPr>
          <p:cNvSpPr txBox="1"/>
          <p:nvPr/>
        </p:nvSpPr>
        <p:spPr>
          <a:xfrm>
            <a:off x="791250" y="1805457"/>
            <a:ext cx="1721729" cy="66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GPT-4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OpenAI Resourc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FAUL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5BC6F70-9D77-FD4B-84D8-BA08B68AD146}"/>
              </a:ext>
            </a:extLst>
          </p:cNvPr>
          <p:cNvSpPr txBox="1"/>
          <p:nvPr/>
        </p:nvSpPr>
        <p:spPr>
          <a:xfrm>
            <a:off x="791250" y="2701074"/>
            <a:ext cx="1721729" cy="67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hatGPT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OpenAI Resourc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1F3CE44-BD46-A47C-56DD-2D64B14F9426}"/>
              </a:ext>
            </a:extLst>
          </p:cNvPr>
          <p:cNvSpPr txBox="1"/>
          <p:nvPr/>
        </p:nvSpPr>
        <p:spPr>
          <a:xfrm>
            <a:off x="791250" y="3614688"/>
            <a:ext cx="1721729" cy="550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lama 2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eta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6C2D28F-42E7-2160-C3AC-B73CA866851C}"/>
              </a:ext>
            </a:extLst>
          </p:cNvPr>
          <p:cNvSpPr txBox="1"/>
          <p:nvPr/>
        </p:nvSpPr>
        <p:spPr>
          <a:xfrm>
            <a:off x="791250" y="4499950"/>
            <a:ext cx="1895314" cy="66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del Catalog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OSS LLM Model offerings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5F6A3E4-0E4D-E1ED-5687-EC2A655007CA}"/>
              </a:ext>
            </a:extLst>
          </p:cNvPr>
          <p:cNvSpPr txBox="1"/>
          <p:nvPr/>
        </p:nvSpPr>
        <p:spPr>
          <a:xfrm>
            <a:off x="791250" y="5390500"/>
            <a:ext cx="2101926" cy="718447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lt"/>
                <a:cs typeface="Segoe Sans Text"/>
              </a:rPr>
              <a:t>Fine-Tuned LLM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lt"/>
              <a:cs typeface="Segoe Sans Text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lt"/>
                <a:cs typeface="Segoe Sans Text"/>
              </a:rPr>
              <a:t>Any LLM in your collection you previously fined-tuned.</a:t>
            </a:r>
            <a:endParaRPr kumimoji="0" lang="en-US" sz="107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CB89064-1D17-3D41-4F1F-A8FD769253BD}"/>
              </a:ext>
            </a:extLst>
          </p:cNvPr>
          <p:cNvSpPr txBox="1"/>
          <p:nvPr/>
        </p:nvSpPr>
        <p:spPr>
          <a:xfrm>
            <a:off x="3667727" y="1287569"/>
            <a:ext cx="2202889" cy="318286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and index your dat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CF332F-5047-9095-2DCD-BB1AFC443865}"/>
              </a:ext>
            </a:extLst>
          </p:cNvPr>
          <p:cNvSpPr txBox="1"/>
          <p:nvPr/>
        </p:nvSpPr>
        <p:spPr>
          <a:xfrm>
            <a:off x="3597603" y="1793560"/>
            <a:ext cx="1721729" cy="718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mport Data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Blob Storage, S3, GitHub, unstructured files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E54C0C5-EA1D-F85D-F1F9-07D3F0241E94}"/>
              </a:ext>
            </a:extLst>
          </p:cNvPr>
          <p:cNvSpPr txBox="1"/>
          <p:nvPr/>
        </p:nvSpPr>
        <p:spPr>
          <a:xfrm>
            <a:off x="3597603" y="2734793"/>
            <a:ext cx="2214205" cy="664583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AI Search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eyword, Vector, Hybrid, Ranking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FAUL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Segoe Sans Text"/>
              <a:ea typeface="+mn-ea"/>
              <a:cs typeface="Segoe Sans Text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DED0134-7722-D042-1DCA-A89D8D1A003A}"/>
              </a:ext>
            </a:extLst>
          </p:cNvPr>
          <p:cNvSpPr txBox="1"/>
          <p:nvPr/>
        </p:nvSpPr>
        <p:spPr>
          <a:xfrm>
            <a:off x="3597603" y="3623928"/>
            <a:ext cx="2215121" cy="67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abric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low Connection Tool available</a:t>
            </a:r>
            <a:endParaRPr kumimoji="0" lang="en-US" sz="1071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1BE2BC4-C974-E5A0-2C11-ED8659294439}"/>
              </a:ext>
            </a:extLst>
          </p:cNvPr>
          <p:cNvSpPr txBox="1"/>
          <p:nvPr/>
        </p:nvSpPr>
        <p:spPr>
          <a:xfrm>
            <a:off x="3597603" y="4524264"/>
            <a:ext cx="2215121" cy="550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S Graph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low Connection Tool available</a:t>
            </a:r>
            <a:endParaRPr kumimoji="0" lang="en-US" sz="1071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F6EB313-A9E1-D2D3-3A57-ADC968EBE4F8}"/>
              </a:ext>
            </a:extLst>
          </p:cNvPr>
          <p:cNvSpPr txBox="1"/>
          <p:nvPr/>
        </p:nvSpPr>
        <p:spPr>
          <a:xfrm>
            <a:off x="3597603" y="5393567"/>
            <a:ext cx="2215121" cy="67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xternal Vector Databas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6960F-8485-DDE6-5E7D-AB62BB728D74}"/>
              </a:ext>
            </a:extLst>
          </p:cNvPr>
          <p:cNvSpPr txBox="1"/>
          <p:nvPr/>
        </p:nvSpPr>
        <p:spPr>
          <a:xfrm>
            <a:off x="6257402" y="1287569"/>
            <a:ext cx="2692349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alibrate your prompting logic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510E5F4-ED0F-88A3-FE97-FCC717E63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4901251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AD59407-5334-AD94-0CD8-77A0E0F8E0A9}"/>
              </a:ext>
            </a:extLst>
          </p:cNvPr>
          <p:cNvSpPr txBox="1"/>
          <p:nvPr/>
        </p:nvSpPr>
        <p:spPr>
          <a:xfrm>
            <a:off x="6590135" y="2100545"/>
            <a:ext cx="1874139" cy="262241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ustomize System Promp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E7F650-7B22-669A-7181-E24EF4A878F4}"/>
              </a:ext>
            </a:extLst>
          </p:cNvPr>
          <p:cNvSpPr txBox="1"/>
          <p:nvPr/>
        </p:nvSpPr>
        <p:spPr>
          <a:xfrm>
            <a:off x="6479367" y="2848918"/>
            <a:ext cx="2095676" cy="421910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stablish retrieval augmenting search connector 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AE25B2A-F6B5-A6AC-CCB8-B451261FCA86}"/>
              </a:ext>
            </a:extLst>
          </p:cNvPr>
          <p:cNvSpPr txBox="1"/>
          <p:nvPr/>
        </p:nvSpPr>
        <p:spPr>
          <a:xfrm>
            <a:off x="6338533" y="3748913"/>
            <a:ext cx="2377342" cy="26224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prompting examples</a:t>
            </a: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740F6C6-6D5E-1A0F-12CD-1592FB5120DC}"/>
              </a:ext>
            </a:extLst>
          </p:cNvPr>
          <p:cNvSpPr txBox="1"/>
          <p:nvPr/>
        </p:nvSpPr>
        <p:spPr>
          <a:xfrm>
            <a:off x="6590135" y="4465710"/>
            <a:ext cx="1874139" cy="26224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flow tools and plugi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797BF23-795C-9402-D668-AEB89D25A4A2}"/>
              </a:ext>
            </a:extLst>
          </p:cNvPr>
          <p:cNvSpPr txBox="1"/>
          <p:nvPr/>
        </p:nvSpPr>
        <p:spPr>
          <a:xfrm>
            <a:off x="6425196" y="5191802"/>
            <a:ext cx="2204016" cy="42936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easure effectiveness with manual and metric evaluat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EC3FB8-B87D-17CE-8D25-B6E8F0C47ADA}"/>
              </a:ext>
            </a:extLst>
          </p:cNvPr>
          <p:cNvSpPr txBox="1"/>
          <p:nvPr/>
        </p:nvSpPr>
        <p:spPr>
          <a:xfrm>
            <a:off x="6590135" y="6071657"/>
            <a:ext cx="1874139" cy="598379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f additional calibration required, consider fine tuning your own model</a:t>
            </a: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A7770B7-1B4F-6D0E-111E-B7A459BBF2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5772335"/>
            <a:ext cx="295128" cy="2951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A9B5DFA-2887-0C4F-5B91-4124092F2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3462534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E25BEB5-344A-BDE3-DBDC-4198080D6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4186341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3427ED-68D4-23BC-A24B-460BDF523D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1809109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5FBD40A-8A9B-C31C-3194-223401AC4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2558311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A7B878-F85B-E20A-47A9-8C71301BBD66}"/>
              </a:ext>
            </a:extLst>
          </p:cNvPr>
          <p:cNvSpPr txBox="1"/>
          <p:nvPr/>
        </p:nvSpPr>
        <p:spPr>
          <a:xfrm>
            <a:off x="9137047" y="1287569"/>
            <a:ext cx="2411360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ploy and monitor usa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9E9B737-3AE1-055A-307A-91F21272E5DF}"/>
              </a:ext>
            </a:extLst>
          </p:cNvPr>
          <p:cNvSpPr txBox="1"/>
          <p:nvPr/>
        </p:nvSpPr>
        <p:spPr>
          <a:xfrm>
            <a:off x="9294958" y="2100545"/>
            <a:ext cx="2172104" cy="421910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sure appropriate RAI Compliance before deploymen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7BAD51F-2ADA-E276-1A13-96A2401602BA}"/>
              </a:ext>
            </a:extLst>
          </p:cNvPr>
          <p:cNvSpPr txBox="1"/>
          <p:nvPr/>
        </p:nvSpPr>
        <p:spPr>
          <a:xfrm>
            <a:off x="9443940" y="3044577"/>
            <a:ext cx="1874139" cy="430309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ploy enterprise chat solution endpoin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88F96-085F-FB68-CDC4-35076CA131AD}"/>
              </a:ext>
            </a:extLst>
          </p:cNvPr>
          <p:cNvSpPr txBox="1"/>
          <p:nvPr/>
        </p:nvSpPr>
        <p:spPr>
          <a:xfrm>
            <a:off x="9443940" y="4061520"/>
            <a:ext cx="1874139" cy="598379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 token consumption and adjust solution parameters accordingly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B14572-E4FC-DEF0-5F8D-752707B1700F}"/>
              </a:ext>
            </a:extLst>
          </p:cNvPr>
          <p:cNvSpPr txBox="1"/>
          <p:nvPr/>
        </p:nvSpPr>
        <p:spPr>
          <a:xfrm>
            <a:off x="9443940" y="5243262"/>
            <a:ext cx="1874139" cy="766448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 compute and resource metric costs over time and optimize solution infrastructure as needed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76EF461-CF8B-A749-F073-4B070C061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828800" y="6349246"/>
            <a:ext cx="4897120" cy="0"/>
          </a:xfrm>
          <a:prstGeom prst="straightConnector1">
            <a:avLst/>
          </a:prstGeom>
          <a:ln w="25400">
            <a:solidFill>
              <a:schemeClr val="accent6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7727EEE0-79D3-DA96-5AD1-69368E7BCA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47" idx="2"/>
          </p:cNvCxnSpPr>
          <p:nvPr/>
        </p:nvCxnSpPr>
        <p:spPr>
          <a:xfrm flipV="1">
            <a:off x="1842213" y="6108947"/>
            <a:ext cx="0" cy="210573"/>
          </a:xfrm>
          <a:prstGeom prst="straightConnector1">
            <a:avLst/>
          </a:prstGeom>
          <a:ln w="25400">
            <a:solidFill>
              <a:schemeClr val="accent6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205AFFB3-BEED-6A5C-62E6-0F345662B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1809109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8280032-2149-6546-7A32-9BA9977621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4952655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22986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3060BF-7FBB-F835-6680-2579C48CC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re you go</a:t>
            </a:r>
          </a:p>
        </p:txBody>
      </p:sp>
      <p:sp>
        <p:nvSpPr>
          <p:cNvPr id="4" name="Rounded Rectangle 42">
            <a:extLst>
              <a:ext uri="{FF2B5EF4-FFF2-40B4-BE49-F238E27FC236}">
                <a16:creationId xmlns:a16="http://schemas.microsoft.com/office/drawing/2014/main" id="{7056B656-CC45-B063-C5B4-BAAE7B1A7F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40" y="1753735"/>
            <a:ext cx="2426552" cy="775110"/>
          </a:xfrm>
          <a:prstGeom prst="roundRect">
            <a:avLst>
              <a:gd name="adj" fmla="val 6006"/>
            </a:avLst>
          </a:prstGeom>
          <a:solidFill>
            <a:srgbClr val="FDFDFD"/>
          </a:solidFill>
          <a:ln w="38100">
            <a:gradFill flip="none" rotWithShape="1">
              <a:gsLst>
                <a:gs pos="0">
                  <a:schemeClr val="accent6"/>
                </a:gs>
                <a:gs pos="100000">
                  <a:schemeClr val="tx2"/>
                </a:gs>
              </a:gsLst>
              <a:lin ang="2700000" scaled="1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5" name="Rounded Rectangle 50">
            <a:extLst>
              <a:ext uri="{FF2B5EF4-FFF2-40B4-BE49-F238E27FC236}">
                <a16:creationId xmlns:a16="http://schemas.microsoft.com/office/drawing/2014/main" id="{1BD21963-8760-84B7-21D6-69A497985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2667692"/>
            <a:ext cx="2426552" cy="775110"/>
          </a:xfrm>
          <a:prstGeom prst="roundRect">
            <a:avLst>
              <a:gd name="adj" fmla="val 6006"/>
            </a:avLst>
          </a:prstGeom>
          <a:solidFill>
            <a:srgbClr val="FDFDFD"/>
          </a:solidFill>
          <a:ln w="38100">
            <a:gradFill flip="none" rotWithShape="1">
              <a:gsLst>
                <a:gs pos="0">
                  <a:schemeClr val="accent6"/>
                </a:gs>
                <a:gs pos="100000">
                  <a:schemeClr val="tx2"/>
                </a:gs>
              </a:gsLst>
              <a:lin ang="2700000" scaled="1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6" name="Freeform 32">
            <a:extLst>
              <a:ext uri="{FF2B5EF4-FFF2-40B4-BE49-F238E27FC236}">
                <a16:creationId xmlns:a16="http://schemas.microsoft.com/office/drawing/2014/main" id="{4B31C819-1ADF-D802-8062-E46B9E663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5447" y="1219112"/>
            <a:ext cx="11121661" cy="455201"/>
          </a:xfrm>
          <a:custGeom>
            <a:avLst/>
            <a:gdLst>
              <a:gd name="connsiteX0" fmla="*/ 8659728 w 11558016"/>
              <a:gd name="connsiteY0" fmla="*/ 0 h 446316"/>
              <a:gd name="connsiteX1" fmla="*/ 11558016 w 11558016"/>
              <a:gd name="connsiteY1" fmla="*/ 0 h 446316"/>
              <a:gd name="connsiteX2" fmla="*/ 11558016 w 11558016"/>
              <a:gd name="connsiteY2" fmla="*/ 446316 h 446316"/>
              <a:gd name="connsiteX3" fmla="*/ 8659731 w 11558016"/>
              <a:gd name="connsiteY3" fmla="*/ 446316 h 446316"/>
              <a:gd name="connsiteX4" fmla="*/ 8904889 w 11558016"/>
              <a:gd name="connsiteY4" fmla="*/ 223160 h 446316"/>
              <a:gd name="connsiteX5" fmla="*/ 5772145 w 11558016"/>
              <a:gd name="connsiteY5" fmla="*/ 0 h 446316"/>
              <a:gd name="connsiteX6" fmla="*/ 8461824 w 11558016"/>
              <a:gd name="connsiteY6" fmla="*/ 0 h 446316"/>
              <a:gd name="connsiteX7" fmla="*/ 8706985 w 11558016"/>
              <a:gd name="connsiteY7" fmla="*/ 223160 h 446316"/>
              <a:gd name="connsiteX8" fmla="*/ 8461827 w 11558016"/>
              <a:gd name="connsiteY8" fmla="*/ 446316 h 446316"/>
              <a:gd name="connsiteX9" fmla="*/ 5772146 w 11558016"/>
              <a:gd name="connsiteY9" fmla="*/ 446316 h 446316"/>
              <a:gd name="connsiteX10" fmla="*/ 6017305 w 11558016"/>
              <a:gd name="connsiteY10" fmla="*/ 223159 h 446316"/>
              <a:gd name="connsiteX11" fmla="*/ 2873647 w 11558016"/>
              <a:gd name="connsiteY11" fmla="*/ 0 h 446316"/>
              <a:gd name="connsiteX12" fmla="*/ 5574240 w 11558016"/>
              <a:gd name="connsiteY12" fmla="*/ 0 h 446316"/>
              <a:gd name="connsiteX13" fmla="*/ 5819400 w 11558016"/>
              <a:gd name="connsiteY13" fmla="*/ 223159 h 446316"/>
              <a:gd name="connsiteX14" fmla="*/ 5574241 w 11558016"/>
              <a:gd name="connsiteY14" fmla="*/ 446316 h 446316"/>
              <a:gd name="connsiteX15" fmla="*/ 2873650 w 11558016"/>
              <a:gd name="connsiteY15" fmla="*/ 446316 h 446316"/>
              <a:gd name="connsiteX16" fmla="*/ 3118808 w 11558016"/>
              <a:gd name="connsiteY16" fmla="*/ 223160 h 446316"/>
              <a:gd name="connsiteX17" fmla="*/ 0 w 11558016"/>
              <a:gd name="connsiteY17" fmla="*/ 0 h 446316"/>
              <a:gd name="connsiteX18" fmla="*/ 2675742 w 11558016"/>
              <a:gd name="connsiteY18" fmla="*/ 0 h 446316"/>
              <a:gd name="connsiteX19" fmla="*/ 2920903 w 11558016"/>
              <a:gd name="connsiteY19" fmla="*/ 223160 h 446316"/>
              <a:gd name="connsiteX20" fmla="*/ 2675745 w 11558016"/>
              <a:gd name="connsiteY20" fmla="*/ 446316 h 446316"/>
              <a:gd name="connsiteX21" fmla="*/ 0 w 11558016"/>
              <a:gd name="connsiteY21" fmla="*/ 446316 h 4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558016" h="446316">
                <a:moveTo>
                  <a:pt x="8659728" y="0"/>
                </a:moveTo>
                <a:lnTo>
                  <a:pt x="11558016" y="0"/>
                </a:lnTo>
                <a:lnTo>
                  <a:pt x="11558016" y="446316"/>
                </a:lnTo>
                <a:lnTo>
                  <a:pt x="8659731" y="446316"/>
                </a:lnTo>
                <a:lnTo>
                  <a:pt x="8904889" y="223160"/>
                </a:lnTo>
                <a:close/>
                <a:moveTo>
                  <a:pt x="5772145" y="0"/>
                </a:moveTo>
                <a:lnTo>
                  <a:pt x="8461824" y="0"/>
                </a:lnTo>
                <a:lnTo>
                  <a:pt x="8706985" y="223160"/>
                </a:lnTo>
                <a:lnTo>
                  <a:pt x="8461827" y="446316"/>
                </a:lnTo>
                <a:lnTo>
                  <a:pt x="5772146" y="446316"/>
                </a:lnTo>
                <a:lnTo>
                  <a:pt x="6017305" y="223159"/>
                </a:lnTo>
                <a:close/>
                <a:moveTo>
                  <a:pt x="2873647" y="0"/>
                </a:moveTo>
                <a:lnTo>
                  <a:pt x="5574240" y="0"/>
                </a:lnTo>
                <a:lnTo>
                  <a:pt x="5819400" y="223159"/>
                </a:lnTo>
                <a:lnTo>
                  <a:pt x="5574241" y="446316"/>
                </a:lnTo>
                <a:lnTo>
                  <a:pt x="2873650" y="446316"/>
                </a:lnTo>
                <a:lnTo>
                  <a:pt x="3118808" y="223160"/>
                </a:lnTo>
                <a:close/>
                <a:moveTo>
                  <a:pt x="0" y="0"/>
                </a:moveTo>
                <a:lnTo>
                  <a:pt x="2675742" y="0"/>
                </a:lnTo>
                <a:lnTo>
                  <a:pt x="2920903" y="223160"/>
                </a:lnTo>
                <a:lnTo>
                  <a:pt x="2675745" y="446316"/>
                </a:lnTo>
                <a:lnTo>
                  <a:pt x="0" y="44631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19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7" name="Rounded Rectangle 43">
            <a:extLst>
              <a:ext uri="{FF2B5EF4-FFF2-40B4-BE49-F238E27FC236}">
                <a16:creationId xmlns:a16="http://schemas.microsoft.com/office/drawing/2014/main" id="{BBC3B4F9-5450-0196-0E83-46097DAEE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4" y="5348491"/>
            <a:ext cx="2426552" cy="775110"/>
          </a:xfrm>
          <a:prstGeom prst="roundRect">
            <a:avLst>
              <a:gd name="adj" fmla="val 6006"/>
            </a:avLst>
          </a:prstGeom>
          <a:noFill/>
          <a:ln w="190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8" name="Rounded Rectangle 44">
            <a:extLst>
              <a:ext uri="{FF2B5EF4-FFF2-40B4-BE49-F238E27FC236}">
                <a16:creationId xmlns:a16="http://schemas.microsoft.com/office/drawing/2014/main" id="{EAD4C531-E772-F5A4-A070-9584D5260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5" y="4449803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9" name="Rounded Rectangle 45">
            <a:extLst>
              <a:ext uri="{FF2B5EF4-FFF2-40B4-BE49-F238E27FC236}">
                <a16:creationId xmlns:a16="http://schemas.microsoft.com/office/drawing/2014/main" id="{1AA490A1-A953-2ADD-5617-F7336835C4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7" y="2652424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0" name="Rounded Rectangle 46">
            <a:extLst>
              <a:ext uri="{FF2B5EF4-FFF2-40B4-BE49-F238E27FC236}">
                <a16:creationId xmlns:a16="http://schemas.microsoft.com/office/drawing/2014/main" id="{0C2850A8-4500-EB1A-1AE1-23FAFF2873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0636" y="3551113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1" name="Rounded Rectangle 51">
            <a:extLst>
              <a:ext uri="{FF2B5EF4-FFF2-40B4-BE49-F238E27FC236}">
                <a16:creationId xmlns:a16="http://schemas.microsoft.com/office/drawing/2014/main" id="{4C368524-3EA9-EDF0-910B-95A0FC96CD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1767356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2" name="Rounded Rectangle 52">
            <a:extLst>
              <a:ext uri="{FF2B5EF4-FFF2-40B4-BE49-F238E27FC236}">
                <a16:creationId xmlns:a16="http://schemas.microsoft.com/office/drawing/2014/main" id="{4198DCDE-1A20-A5BE-CEA7-A92C4E1C0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3560354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56854796-99F5-626B-7219-0E1BCFCFD2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4460689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4" name="Rounded Rectangle 27">
            <a:extLst>
              <a:ext uri="{FF2B5EF4-FFF2-40B4-BE49-F238E27FC236}">
                <a16:creationId xmlns:a16="http://schemas.microsoft.com/office/drawing/2014/main" id="{6F7648BC-C273-0EF5-64FA-3EEF1CF2D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54755" y="5342692"/>
            <a:ext cx="2426552" cy="775110"/>
          </a:xfrm>
          <a:prstGeom prst="roundRect">
            <a:avLst>
              <a:gd name="adj" fmla="val 6006"/>
            </a:avLst>
          </a:prstGeom>
          <a:noFill/>
          <a:ln w="127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901A335-4809-AC34-905C-76B8F3989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529123" y="1666754"/>
            <a:ext cx="0" cy="4203595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18089F7-4296-C0F9-B5D0-F0C167244A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0381010" y="1666754"/>
            <a:ext cx="0" cy="3959601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92FF12F-B328-0ADE-FC95-ADDB616A34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2753970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5968D02-9D81-8174-2A70-010647C64F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3770912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53" name="Rectangle: Rounded Corners 12" descr="GenAI Model Store">
            <a:extLst>
              <a:ext uri="{FF2B5EF4-FFF2-40B4-BE49-F238E27FC236}">
                <a16:creationId xmlns:a16="http://schemas.microsoft.com/office/drawing/2014/main" id="{1BEDDE52-B976-2C74-D40F-8C6BA7627631}"/>
              </a:ext>
            </a:extLst>
          </p:cNvPr>
          <p:cNvSpPr/>
          <p:nvPr/>
        </p:nvSpPr>
        <p:spPr>
          <a:xfrm>
            <a:off x="9799855" y="572065"/>
            <a:ext cx="1907253" cy="3672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2700000" scaled="0"/>
            <a:tileRect/>
          </a:gradFill>
          <a:ln w="38100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Sans Text Semibold" pitchFamily="2" charset="0"/>
              </a:rPr>
              <a:t>Enterprise 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02F49B-5C12-BC7E-85ED-C23D74160A15}"/>
              </a:ext>
            </a:extLst>
          </p:cNvPr>
          <p:cNvSpPr txBox="1"/>
          <p:nvPr/>
        </p:nvSpPr>
        <p:spPr>
          <a:xfrm>
            <a:off x="724344" y="1290676"/>
            <a:ext cx="2462367" cy="3120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Select your chat model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6D6832A-36C5-E8EE-2DB8-B1325642FC3A}"/>
              </a:ext>
            </a:extLst>
          </p:cNvPr>
          <p:cNvSpPr txBox="1"/>
          <p:nvPr/>
        </p:nvSpPr>
        <p:spPr>
          <a:xfrm>
            <a:off x="791250" y="1805457"/>
            <a:ext cx="1721729" cy="66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GPT-4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OpenAI Resourc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FAUL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A7FCEF1-83E0-3E49-7B2B-1B8344D7F38C}"/>
              </a:ext>
            </a:extLst>
          </p:cNvPr>
          <p:cNvSpPr txBox="1"/>
          <p:nvPr/>
        </p:nvSpPr>
        <p:spPr>
          <a:xfrm>
            <a:off x="791250" y="2701074"/>
            <a:ext cx="1721729" cy="67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hatGPT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OpenAI Resourc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BB6E1B1-D2F1-6A8A-3A77-29D5839627B1}"/>
              </a:ext>
            </a:extLst>
          </p:cNvPr>
          <p:cNvSpPr txBox="1"/>
          <p:nvPr/>
        </p:nvSpPr>
        <p:spPr>
          <a:xfrm>
            <a:off x="791250" y="3614688"/>
            <a:ext cx="1721729" cy="550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lama 2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eta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EFE3469-F121-479A-C6F8-A6B7802FE9FB}"/>
              </a:ext>
            </a:extLst>
          </p:cNvPr>
          <p:cNvSpPr txBox="1"/>
          <p:nvPr/>
        </p:nvSpPr>
        <p:spPr>
          <a:xfrm>
            <a:off x="791250" y="4499950"/>
            <a:ext cx="1895314" cy="66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del Catalog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OSS LLM Model offerings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19366EB-09BE-07A6-9E32-39C36713D675}"/>
              </a:ext>
            </a:extLst>
          </p:cNvPr>
          <p:cNvSpPr txBox="1"/>
          <p:nvPr/>
        </p:nvSpPr>
        <p:spPr>
          <a:xfrm>
            <a:off x="791250" y="5390500"/>
            <a:ext cx="2101926" cy="718447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lt"/>
                <a:cs typeface="Segoe Sans Text"/>
              </a:rPr>
              <a:t>Fine-Tuned LLM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lt"/>
              <a:cs typeface="Segoe Sans Text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lt"/>
                <a:cs typeface="Segoe Sans Text"/>
              </a:rPr>
              <a:t>Any LLM in your collection you previously fined-tuned.</a:t>
            </a:r>
            <a:endParaRPr kumimoji="0" lang="en-US" sz="107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7EA06E-894B-14D8-1DBF-F661E8269B60}"/>
              </a:ext>
            </a:extLst>
          </p:cNvPr>
          <p:cNvSpPr txBox="1"/>
          <p:nvPr/>
        </p:nvSpPr>
        <p:spPr>
          <a:xfrm>
            <a:off x="3667727" y="1287569"/>
            <a:ext cx="2202889" cy="318286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and index your dat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9A23631-F17E-7538-8EBB-B3ED59C00B7A}"/>
              </a:ext>
            </a:extLst>
          </p:cNvPr>
          <p:cNvSpPr txBox="1"/>
          <p:nvPr/>
        </p:nvSpPr>
        <p:spPr>
          <a:xfrm>
            <a:off x="3597603" y="1793560"/>
            <a:ext cx="1721729" cy="718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mport Data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Blob Storage, S3, GitHub, unstructured files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65628E-E88E-EBB1-C323-026E19C871DF}"/>
              </a:ext>
            </a:extLst>
          </p:cNvPr>
          <p:cNvSpPr txBox="1"/>
          <p:nvPr/>
        </p:nvSpPr>
        <p:spPr>
          <a:xfrm>
            <a:off x="3597603" y="2734793"/>
            <a:ext cx="2214205" cy="664583"/>
          </a:xfrm>
          <a:prstGeom prst="rect">
            <a:avLst/>
          </a:prstGeom>
          <a:noFill/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zure AI Search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eyword, Vector, Hybrid, Ranking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FAUL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Segoe Sans Text"/>
              <a:ea typeface="+mn-ea"/>
              <a:cs typeface="Segoe Sans Text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D607DB-68E8-1625-E92D-CDF30E765324}"/>
              </a:ext>
            </a:extLst>
          </p:cNvPr>
          <p:cNvSpPr txBox="1"/>
          <p:nvPr/>
        </p:nvSpPr>
        <p:spPr>
          <a:xfrm>
            <a:off x="3597603" y="3623928"/>
            <a:ext cx="2215121" cy="67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abric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low Connection Tool available</a:t>
            </a:r>
            <a:endParaRPr kumimoji="0" lang="en-US" sz="1071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6F34725-462C-A4CB-D010-925097C5DED4}"/>
              </a:ext>
            </a:extLst>
          </p:cNvPr>
          <p:cNvSpPr txBox="1"/>
          <p:nvPr/>
        </p:nvSpPr>
        <p:spPr>
          <a:xfrm>
            <a:off x="3597603" y="4524264"/>
            <a:ext cx="2215121" cy="550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S Graph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low Connection Tool available</a:t>
            </a:r>
            <a:endParaRPr kumimoji="0" lang="en-US" sz="1071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E0895DD-65BB-EC4C-5158-E7E6F75F77D7}"/>
              </a:ext>
            </a:extLst>
          </p:cNvPr>
          <p:cNvSpPr txBox="1"/>
          <p:nvPr/>
        </p:nvSpPr>
        <p:spPr>
          <a:xfrm>
            <a:off x="3597603" y="5393567"/>
            <a:ext cx="2215121" cy="67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xternal Vector Database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C1F8C8-C0E0-120E-7200-1E4336F6EB68}"/>
              </a:ext>
            </a:extLst>
          </p:cNvPr>
          <p:cNvSpPr txBox="1"/>
          <p:nvPr/>
        </p:nvSpPr>
        <p:spPr>
          <a:xfrm>
            <a:off x="6257402" y="1287569"/>
            <a:ext cx="2692349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alibrate your prompting logic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C95D773-433D-DD4C-691F-F88B5C22D0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4901251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4BBB4A8-C847-C213-1358-96724B1C67F5}"/>
              </a:ext>
            </a:extLst>
          </p:cNvPr>
          <p:cNvSpPr txBox="1"/>
          <p:nvPr/>
        </p:nvSpPr>
        <p:spPr>
          <a:xfrm>
            <a:off x="6590135" y="2100545"/>
            <a:ext cx="1874139" cy="262241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Customize System Promp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C674306-23C8-231A-5D6D-1613401F8DB1}"/>
              </a:ext>
            </a:extLst>
          </p:cNvPr>
          <p:cNvSpPr txBox="1"/>
          <p:nvPr/>
        </p:nvSpPr>
        <p:spPr>
          <a:xfrm>
            <a:off x="6479367" y="2848918"/>
            <a:ext cx="2095676" cy="421910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stablish retrieval augmenting search connector 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0AE6B4D-257B-1D03-57A7-BEA4C3092D12}"/>
              </a:ext>
            </a:extLst>
          </p:cNvPr>
          <p:cNvSpPr txBox="1"/>
          <p:nvPr/>
        </p:nvSpPr>
        <p:spPr>
          <a:xfrm>
            <a:off x="6338533" y="3748913"/>
            <a:ext cx="2377342" cy="26224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prompting examples</a:t>
            </a: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BE60390-9D4E-CBC1-66F3-811582D09186}"/>
              </a:ext>
            </a:extLst>
          </p:cNvPr>
          <p:cNvSpPr txBox="1"/>
          <p:nvPr/>
        </p:nvSpPr>
        <p:spPr>
          <a:xfrm>
            <a:off x="6590135" y="4465710"/>
            <a:ext cx="1874139" cy="26224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dd flow tools and plugi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53B3A4E-6028-77AE-4008-808FCFE58068}"/>
              </a:ext>
            </a:extLst>
          </p:cNvPr>
          <p:cNvSpPr txBox="1"/>
          <p:nvPr/>
        </p:nvSpPr>
        <p:spPr>
          <a:xfrm>
            <a:off x="6425196" y="5191802"/>
            <a:ext cx="2204016" cy="429361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easure effectiveness with manual and metric evaluat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4B0F82-607C-C58D-346B-684326FB9EE7}"/>
              </a:ext>
            </a:extLst>
          </p:cNvPr>
          <p:cNvSpPr txBox="1"/>
          <p:nvPr/>
        </p:nvSpPr>
        <p:spPr>
          <a:xfrm>
            <a:off x="6590135" y="6071657"/>
            <a:ext cx="1874139" cy="598379"/>
          </a:xfrm>
          <a:prstGeom prst="rect">
            <a:avLst/>
          </a:prstGeom>
          <a:solidFill>
            <a:srgbClr val="F5F3F1"/>
          </a:solidFill>
        </p:spPr>
        <p:txBody>
          <a:bodyPr wrap="square" lIns="93260" tIns="46630" rIns="93260" bIns="46630" rtlCol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D7D2CB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f additional calibration required, consider fine tuning your own model</a:t>
            </a: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D7D2CB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6025C3B-844F-5C67-DB00-1905DD1827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5772335"/>
            <a:ext cx="295128" cy="2951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1937ACB-F50D-6DFF-1ACF-BC68412371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3462534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03CD3C-0F28-FC07-33B8-91A4E5CB5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4186341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D422E2D-480C-9262-2730-4B4026514A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1809109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ED5353D-237B-4540-ACD1-63086B4FEA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79640" y="2558311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F8A1525-BD73-3FA5-4483-6809F0C9B74C}"/>
              </a:ext>
            </a:extLst>
          </p:cNvPr>
          <p:cNvSpPr txBox="1"/>
          <p:nvPr/>
        </p:nvSpPr>
        <p:spPr>
          <a:xfrm>
            <a:off x="9137047" y="1287569"/>
            <a:ext cx="2411360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ploy and monitor usa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BB95F1F-2DAE-98BD-098E-AC844037AF66}"/>
              </a:ext>
            </a:extLst>
          </p:cNvPr>
          <p:cNvSpPr txBox="1"/>
          <p:nvPr/>
        </p:nvSpPr>
        <p:spPr>
          <a:xfrm>
            <a:off x="9294958" y="2100545"/>
            <a:ext cx="2172104" cy="421910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sure appropriate RAI Compliance before deploymen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3BF041-D1B6-690F-5EB1-B1FDE3758341}"/>
              </a:ext>
            </a:extLst>
          </p:cNvPr>
          <p:cNvSpPr txBox="1"/>
          <p:nvPr/>
        </p:nvSpPr>
        <p:spPr>
          <a:xfrm>
            <a:off x="9443940" y="3044577"/>
            <a:ext cx="1874139" cy="430309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eploy enterprise chat solution endpoint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860A6-0D59-C7A2-3B1E-B3B915D65ACD}"/>
              </a:ext>
            </a:extLst>
          </p:cNvPr>
          <p:cNvSpPr txBox="1"/>
          <p:nvPr/>
        </p:nvSpPr>
        <p:spPr>
          <a:xfrm>
            <a:off x="9443940" y="4061520"/>
            <a:ext cx="1874139" cy="598379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 token consumption and adjust solution parameters accordingly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3F9CA8-197B-B5DD-05BA-77DBA28973E8}"/>
              </a:ext>
            </a:extLst>
          </p:cNvPr>
          <p:cNvSpPr txBox="1"/>
          <p:nvPr/>
        </p:nvSpPr>
        <p:spPr>
          <a:xfrm>
            <a:off x="9443940" y="5243262"/>
            <a:ext cx="1874139" cy="766448"/>
          </a:xfrm>
          <a:prstGeom prst="rect">
            <a:avLst/>
          </a:prstGeom>
          <a:solidFill>
            <a:srgbClr val="F5F3F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 compute and resource metric costs over time and optimize solution infrastructure as needed</a:t>
            </a:r>
            <a:endParaRPr kumimoji="0" lang="en-US" sz="81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BEDE7609-60BD-5F84-ADA2-F5F6E958E7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828800" y="6349246"/>
            <a:ext cx="4897120" cy="0"/>
          </a:xfrm>
          <a:prstGeom prst="straightConnector1">
            <a:avLst/>
          </a:prstGeom>
          <a:ln w="25400">
            <a:solidFill>
              <a:schemeClr val="accent6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3FA0B37-A974-E306-5FE3-9926211DD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47" idx="2"/>
          </p:cNvCxnSpPr>
          <p:nvPr/>
        </p:nvCxnSpPr>
        <p:spPr>
          <a:xfrm flipV="1">
            <a:off x="1842213" y="6108947"/>
            <a:ext cx="0" cy="210573"/>
          </a:xfrm>
          <a:prstGeom prst="straightConnector1">
            <a:avLst/>
          </a:prstGeom>
          <a:ln w="25400">
            <a:solidFill>
              <a:schemeClr val="accent6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E2D7E5DB-6966-6366-572B-41AAE47E2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1809109"/>
            <a:ext cx="295128" cy="29512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7BCC8E1-F6A4-2A24-BE3B-FCE994A0D9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33445" y="4952655"/>
            <a:ext cx="295128" cy="295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7EBE058-EC0A-BE7D-EC65-3ED2996A9CBD}"/>
              </a:ext>
            </a:extLst>
          </p:cNvPr>
          <p:cNvSpPr/>
          <p:nvPr/>
        </p:nvSpPr>
        <p:spPr bwMode="auto">
          <a:xfrm>
            <a:off x="526093" y="1767356"/>
            <a:ext cx="2660616" cy="4311862"/>
          </a:xfrm>
          <a:prstGeom prst="round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Model </a:t>
            </a:r>
            <a:r>
              <a:rPr kumimoji="0" lang="en-GB" sz="2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atalog</a:t>
            </a: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&amp; Benchmark</a:t>
            </a:r>
            <a:endParaRPr kumimoji="0" lang="en-HK" sz="2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E03D917E-F495-75D6-2985-249F08BAD80A}"/>
              </a:ext>
            </a:extLst>
          </p:cNvPr>
          <p:cNvSpPr/>
          <p:nvPr/>
        </p:nvSpPr>
        <p:spPr bwMode="auto">
          <a:xfrm>
            <a:off x="3392927" y="1791978"/>
            <a:ext cx="2660616" cy="4311862"/>
          </a:xfrm>
          <a:prstGeom prst="round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8DC8E8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</a:t>
            </a: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G</a:t>
            </a:r>
            <a:endParaRPr kumimoji="0" lang="en-HK" sz="2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489DD3F-FC1E-D96E-6DF2-80D812F7C843}"/>
              </a:ext>
            </a:extLst>
          </p:cNvPr>
          <p:cNvSpPr/>
          <p:nvPr/>
        </p:nvSpPr>
        <p:spPr bwMode="auto">
          <a:xfrm>
            <a:off x="6216134" y="1791978"/>
            <a:ext cx="2660616" cy="4311862"/>
          </a:xfrm>
          <a:prstGeom prst="round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Prompt </a:t>
            </a:r>
            <a:r>
              <a:rPr kumimoji="0" lang="en-GB" sz="2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atalog</a:t>
            </a:r>
            <a:endParaRPr kumimoji="0" lang="en-HK" sz="2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31B1D757-BF7E-4848-BFAF-9EBEDF48B8DF}"/>
              </a:ext>
            </a:extLst>
          </p:cNvPr>
          <p:cNvSpPr/>
          <p:nvPr/>
        </p:nvSpPr>
        <p:spPr bwMode="auto">
          <a:xfrm>
            <a:off x="9065649" y="1807209"/>
            <a:ext cx="2660616" cy="4311862"/>
          </a:xfrm>
          <a:prstGeom prst="round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valuation, AI Content Safety &amp; Monitor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0218BD-3EBE-87F4-28BC-8AB1ADB6BA42}"/>
              </a:ext>
            </a:extLst>
          </p:cNvPr>
          <p:cNvSpPr/>
          <p:nvPr/>
        </p:nvSpPr>
        <p:spPr bwMode="auto">
          <a:xfrm>
            <a:off x="640634" y="5165132"/>
            <a:ext cx="10826428" cy="75386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4D367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        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4D367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 AI Studio</a:t>
            </a:r>
            <a:endParaRPr kumimoji="0" lang="en-HK" sz="2000" b="1" i="0" u="none" strike="noStrike" kern="1200" cap="none" spc="0" normalizeH="0" baseline="0" noProof="0" err="1">
              <a:ln>
                <a:noFill/>
              </a:ln>
              <a:solidFill>
                <a:srgbClr val="4D3677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8" name="Graphic 57" descr="Azure AI Studio logo">
            <a:extLst>
              <a:ext uri="{FF2B5EF4-FFF2-40B4-BE49-F238E27FC236}">
                <a16:creationId xmlns:a16="http://schemas.microsoft.com/office/drawing/2014/main" id="{30583BE2-4028-C4F3-CA71-FCEA95D6D5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9984" y="5111248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2823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70833E-6 -1.48148E-6 L -2.70833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60B230C-158E-6B6E-7FBD-D17493C1F5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9265" y="414032"/>
            <a:ext cx="5955378" cy="6002643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5F532AC7-F228-9789-7B93-D6CA1C1A5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GenAI</a:t>
            </a:r>
            <a:r>
              <a:rPr lang="en-US" dirty="0">
                <a:solidFill>
                  <a:schemeClr val="tx1"/>
                </a:solidFill>
              </a:rPr>
              <a:t> Ops</a:t>
            </a:r>
          </a:p>
        </p:txBody>
      </p:sp>
    </p:spTree>
    <p:extLst>
      <p:ext uri="{BB962C8B-B14F-4D97-AF65-F5344CB8AC3E}">
        <p14:creationId xmlns:p14="http://schemas.microsoft.com/office/powerpoint/2010/main" val="7730869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8CEC5-E004-10DE-BADA-76775F3F5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rom feeling to number</a:t>
            </a:r>
            <a:endParaRPr lang="en-H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27C2FA-A912-1013-A1FD-B8E7690FC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434" y="1816342"/>
            <a:ext cx="11570052" cy="4076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62782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346E8-A017-8E69-071F-7FDFD65F8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xperience Sharing – the 5 Step</a:t>
            </a:r>
            <a:endParaRPr lang="en-H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A2A97-AC9D-99B3-1963-9F0AB2C8E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89" y="1434370"/>
            <a:ext cx="11385651" cy="4653582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GB" sz="2400"/>
              <a:t>Drive test cases from requirement spec. (</a:t>
            </a:r>
            <a:r>
              <a:rPr lang="en-GB" sz="2400" err="1"/>
              <a:t>eg.</a:t>
            </a:r>
            <a:r>
              <a:rPr lang="en-GB" sz="2400"/>
              <a:t> 10 requirements)</a:t>
            </a:r>
          </a:p>
          <a:p>
            <a:pPr marL="514350" indent="-514350">
              <a:buAutoNum type="arabicPeriod"/>
            </a:pPr>
            <a:endParaRPr lang="en-GB" sz="2400"/>
          </a:p>
          <a:p>
            <a:pPr marL="514350" indent="-514350">
              <a:buAutoNum type="arabicPeriod"/>
            </a:pPr>
            <a:r>
              <a:rPr lang="en-GB" sz="2400"/>
              <a:t>Define max number of questions for each requirement. (e.g. 3 questions for each requirement, </a:t>
            </a:r>
            <a:r>
              <a:rPr lang="en-GB" sz="2400" err="1"/>
              <a:t>ie</a:t>
            </a:r>
            <a:r>
              <a:rPr lang="en-GB" sz="2400"/>
              <a:t>. 3 x 10 = 30). Prepare the test dataset. </a:t>
            </a:r>
          </a:p>
          <a:p>
            <a:pPr marL="514350" indent="-514350">
              <a:buAutoNum type="arabicPeriod"/>
            </a:pPr>
            <a:endParaRPr lang="en-GB" sz="2400"/>
          </a:p>
          <a:p>
            <a:pPr marL="514350" indent="-514350">
              <a:buFont typeface="Wingdings" panose="05000000000000000000" pitchFamily="2" charset="2"/>
              <a:buAutoNum type="arabicPeriod"/>
            </a:pPr>
            <a:r>
              <a:rPr lang="en-GB" sz="2400"/>
              <a:t>Define the relevant </a:t>
            </a:r>
            <a:r>
              <a:rPr lang="en-GB" sz="2400">
                <a:hlinkClick r:id="rId2"/>
              </a:rPr>
              <a:t>metrics</a:t>
            </a:r>
            <a:r>
              <a:rPr lang="en-GB" sz="2400"/>
              <a:t> (e.g. </a:t>
            </a:r>
            <a:r>
              <a:rPr lang="en-GB" sz="2400" err="1"/>
              <a:t>groundedness</a:t>
            </a:r>
            <a:r>
              <a:rPr lang="en-GB" sz="2400"/>
              <a:t>, relevance, latency) and agree on the </a:t>
            </a:r>
            <a:r>
              <a:rPr lang="en-GB" sz="2400" b="1">
                <a:solidFill>
                  <a:srgbClr val="8DE971"/>
                </a:solidFill>
              </a:rPr>
              <a:t>acceptance criteria</a:t>
            </a:r>
            <a:r>
              <a:rPr lang="en-GB" sz="2400"/>
              <a:t>. </a:t>
            </a:r>
            <a:r>
              <a:rPr lang="en-GB" sz="2400">
                <a:hlinkClick r:id="rId3"/>
              </a:rPr>
              <a:t>Enable tracing</a:t>
            </a:r>
            <a:endParaRPr lang="en-GB" sz="2400"/>
          </a:p>
          <a:p>
            <a:pPr marL="514350" indent="-514350">
              <a:buAutoNum type="arabicPeriod"/>
            </a:pPr>
            <a:endParaRPr lang="en-GB" sz="2400"/>
          </a:p>
          <a:p>
            <a:pPr marL="514350" indent="-514350">
              <a:buAutoNum type="arabicPeriod"/>
            </a:pPr>
            <a:r>
              <a:rPr lang="en-GB" sz="2400"/>
              <a:t>Iteration: Execute the test cases, </a:t>
            </a:r>
            <a:r>
              <a:rPr lang="en-GB" sz="2400">
                <a:hlinkClick r:id="rId4"/>
              </a:rPr>
              <a:t>evaluate</a:t>
            </a:r>
            <a:r>
              <a:rPr lang="en-GB" sz="2400"/>
              <a:t>, </a:t>
            </a:r>
            <a:r>
              <a:rPr lang="en-GB" sz="2400">
                <a:hlinkClick r:id="rId5"/>
              </a:rPr>
              <a:t>analyse</a:t>
            </a:r>
            <a:r>
              <a:rPr lang="en-GB" sz="2400"/>
              <a:t> and </a:t>
            </a:r>
            <a:r>
              <a:rPr lang="en-GB" sz="2400">
                <a:hlinkClick r:id="rId6"/>
              </a:rPr>
              <a:t>keep track the metric</a:t>
            </a:r>
            <a:endParaRPr lang="en-GB" sz="2400"/>
          </a:p>
          <a:p>
            <a:pPr marL="514350" indent="-514350">
              <a:buAutoNum type="arabicPeriod"/>
            </a:pPr>
            <a:endParaRPr lang="en-GB" sz="2400"/>
          </a:p>
          <a:p>
            <a:pPr marL="514350" indent="-514350">
              <a:buAutoNum type="arabicPeriod"/>
            </a:pPr>
            <a:r>
              <a:rPr lang="en-GB" sz="2400"/>
              <a:t>Continuous </a:t>
            </a:r>
            <a:r>
              <a:rPr lang="en-GB" sz="2400">
                <a:hlinkClick r:id="rId7"/>
              </a:rPr>
              <a:t>monitoring</a:t>
            </a:r>
            <a:r>
              <a:rPr lang="en-GB" sz="2400"/>
              <a:t> after </a:t>
            </a:r>
            <a:r>
              <a:rPr lang="en-GB" sz="2400" err="1"/>
              <a:t>golive</a:t>
            </a:r>
            <a:endParaRPr lang="en-HK" sz="2400"/>
          </a:p>
        </p:txBody>
      </p:sp>
    </p:spTree>
    <p:extLst>
      <p:ext uri="{BB962C8B-B14F-4D97-AF65-F5344CB8AC3E}">
        <p14:creationId xmlns:p14="http://schemas.microsoft.com/office/powerpoint/2010/main" val="398895725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757A7622-6F16-8A87-B9D2-BF898C80D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51106">
            <a:off x="-5081769" y="335953"/>
            <a:ext cx="22355538" cy="6186099"/>
          </a:xfrm>
          <a:prstGeom prst="ellipse">
            <a:avLst/>
          </a:prstGeom>
          <a:gradFill flip="none" rotWithShape="1">
            <a:gsLst>
              <a:gs pos="78000">
                <a:srgbClr val="0078D4"/>
              </a:gs>
              <a:gs pos="20000">
                <a:srgbClr val="C03BC4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>
            <a:softEdge rad="3810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gradFill>
                <a:gsLst>
                  <a:gs pos="76923">
                    <a:srgbClr val="FFFFFF"/>
                  </a:gs>
                  <a:gs pos="74000">
                    <a:srgbClr val="FFFFFF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Small Semibol" pitchFamily="2" charset="0"/>
              <a:ea typeface="+mn-ea"/>
              <a:cs typeface="Segoe UI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07A3B3A-F9D8-00BB-46A2-8707407F35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40272" y="137160"/>
            <a:ext cx="11914632" cy="6583680"/>
          </a:xfrm>
          <a:prstGeom prst="roundRect">
            <a:avLst>
              <a:gd name="adj" fmla="val 2697"/>
            </a:avLst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E8CCEE6-5CF7-A1F3-DF86-D8A255F587D3}"/>
              </a:ext>
            </a:extLst>
          </p:cNvPr>
          <p:cNvGrpSpPr/>
          <p:nvPr/>
        </p:nvGrpSpPr>
        <p:grpSpPr>
          <a:xfrm>
            <a:off x="1739400" y="2191343"/>
            <a:ext cx="8713200" cy="2230206"/>
            <a:chOff x="1838573" y="1869916"/>
            <a:chExt cx="8713200" cy="2230206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AA8F1B2-5464-953C-2442-F1A144B82D90}"/>
                </a:ext>
              </a:extLst>
            </p:cNvPr>
            <p:cNvSpPr txBox="1"/>
            <p:nvPr/>
          </p:nvSpPr>
          <p:spPr>
            <a:xfrm>
              <a:off x="1838573" y="2071751"/>
              <a:ext cx="3848599" cy="2028371"/>
            </a:xfrm>
            <a:prstGeom prst="roundRect">
              <a:avLst>
                <a:gd name="adj" fmla="val 13387"/>
              </a:avLst>
            </a:prstGeom>
            <a:solidFill>
              <a:srgbClr val="091F2C"/>
            </a:solidFill>
            <a:ln w="12700">
              <a:solidFill>
                <a:srgbClr val="3A4953"/>
              </a:solidFill>
            </a:ln>
          </p:spPr>
          <p:txBody>
            <a:bodyPr wrap="square" lIns="0" tIns="45720" rIns="0" bIns="0" rtlCol="0" anchor="ctr" anchorCtr="0">
              <a:noAutofit/>
            </a:bodyPr>
            <a:lstStyle>
              <a:defPPr>
                <a:defRPr lang="en-US"/>
              </a:defPPr>
              <a:lvl1pPr lvl="0" algn="ctr" defTabSz="914400">
                <a:defRPr sz="1600">
                  <a:gradFill>
                    <a:gsLst>
                      <a:gs pos="3497">
                        <a:srgbClr val="FFFFFF"/>
                      </a:gs>
                      <a:gs pos="14685">
                        <a:srgbClr val="FFFFFF"/>
                      </a:gs>
                    </a:gsLst>
                    <a:lin ang="2700000" scaled="1"/>
                  </a:gradFill>
                  <a:latin typeface="Segoe UI Variable Display Semib" pitchFamily="2" charset="0"/>
                </a:defRPr>
              </a:lvl1pPr>
            </a:lstStyle>
            <a:p>
              <a:pPr marL="0" marR="0" lvl="0" indent="0" algn="ctr" defTabSz="29010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89510">
                        <a:srgbClr val="FFFFFF"/>
                      </a:gs>
                      <a:gs pos="68966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old" pitchFamily="2" charset="0"/>
                  <a:ea typeface="+mn-ea"/>
                  <a:cs typeface="Segoe UI" pitchFamily="34" charset="0"/>
                </a:rPr>
                <a:t>o1-preview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088E4749-763B-6494-BF00-8929A1ACAD7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 bwMode="auto">
            <a:xfrm>
              <a:off x="3181501" y="1869916"/>
              <a:ext cx="1162742" cy="403670"/>
            </a:xfrm>
            <a:prstGeom prst="roundRect">
              <a:avLst>
                <a:gd name="adj" fmla="val 36259"/>
              </a:avLst>
            </a:prstGeom>
            <a:gradFill flip="none" rotWithShape="1">
              <a:gsLst>
                <a:gs pos="80000">
                  <a:srgbClr val="0078D4"/>
                </a:gs>
                <a:gs pos="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63897" cap="flat">
              <a:noFill/>
              <a:prstDash val="solid"/>
              <a:miter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txBody>
  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effectLst/>
                  <a:uLnTx/>
                  <a:uFillTx/>
                  <a:latin typeface="Segoe UI Variable Display Semib" pitchFamily="2" charset="0"/>
                  <a:ea typeface="+mn-ea"/>
                  <a:cs typeface="Segoe UI" pitchFamily="34" charset="0"/>
                </a:rPr>
                <a:t>Preview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BB57F5-A395-A6EA-A9EB-947BB34C2170}"/>
                </a:ext>
              </a:extLst>
            </p:cNvPr>
            <p:cNvSpPr txBox="1"/>
            <p:nvPr/>
          </p:nvSpPr>
          <p:spPr>
            <a:xfrm>
              <a:off x="6703174" y="2071751"/>
              <a:ext cx="3848599" cy="2028371"/>
            </a:xfrm>
            <a:prstGeom prst="roundRect">
              <a:avLst>
                <a:gd name="adj" fmla="val 13387"/>
              </a:avLst>
            </a:prstGeom>
            <a:solidFill>
              <a:srgbClr val="091F2C"/>
            </a:solidFill>
            <a:ln w="12700">
              <a:solidFill>
                <a:srgbClr val="3A4953"/>
              </a:solidFill>
            </a:ln>
          </p:spPr>
          <p:txBody>
            <a:bodyPr wrap="square" lIns="0" tIns="45720" rIns="0" bIns="0" rtlCol="0" anchor="ctr" anchorCtr="0">
              <a:noAutofit/>
            </a:bodyPr>
            <a:lstStyle>
              <a:defPPr>
                <a:defRPr lang="en-US"/>
              </a:defPPr>
              <a:lvl1pPr lvl="0" algn="ctr" defTabSz="914400">
                <a:defRPr sz="1600">
                  <a:gradFill>
                    <a:gsLst>
                      <a:gs pos="3497">
                        <a:srgbClr val="FFFFFF"/>
                      </a:gs>
                      <a:gs pos="14685">
                        <a:srgbClr val="FFFFFF"/>
                      </a:gs>
                    </a:gsLst>
                    <a:lin ang="2700000" scaled="1"/>
                  </a:gradFill>
                  <a:latin typeface="Segoe UI Variable Display Semib" pitchFamily="2" charset="0"/>
                </a:defRPr>
              </a:lvl1pPr>
            </a:lstStyle>
            <a:p>
              <a:pPr marL="0" marR="0" lvl="0" indent="0" algn="ctr" defTabSz="29010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89510">
                        <a:srgbClr val="FFFFFF"/>
                      </a:gs>
                      <a:gs pos="68966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old" pitchFamily="2" charset="0"/>
                  <a:ea typeface="+mn-ea"/>
                  <a:cs typeface="Segoe UI" pitchFamily="34" charset="0"/>
                </a:rPr>
                <a:t>o1-mini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335F2F5-80EB-CDFB-909F-BA8803536C2B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 bwMode="auto">
            <a:xfrm>
              <a:off x="8046102" y="1869916"/>
              <a:ext cx="1162742" cy="403670"/>
            </a:xfrm>
            <a:prstGeom prst="roundRect">
              <a:avLst>
                <a:gd name="adj" fmla="val 36259"/>
              </a:avLst>
            </a:prstGeom>
            <a:gradFill flip="none" rotWithShape="1">
              <a:gsLst>
                <a:gs pos="80000">
                  <a:srgbClr val="0078D4"/>
                </a:gs>
                <a:gs pos="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63897" cap="flat">
              <a:noFill/>
              <a:prstDash val="solid"/>
              <a:miter/>
            </a:ln>
            <a:effectLst>
              <a:outerShdw blurRad="63500" dist="63500" dir="2700000" algn="tl" rotWithShape="0">
                <a:prstClr val="black">
                  <a:alpha val="50000"/>
                </a:prstClr>
              </a:outerShdw>
            </a:effectLst>
          </p:spPr>
          <p:txBody>
  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effectLst/>
                  <a:uLnTx/>
                  <a:uFillTx/>
                  <a:latin typeface="Segoe UI Variable Display Semib" pitchFamily="2" charset="0"/>
                  <a:ea typeface="+mn-ea"/>
                  <a:cs typeface="Segoe UI" pitchFamily="34" charset="0"/>
                </a:rPr>
                <a:t>Preview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518D42DB-BC0D-23AF-86C1-643E6D6B5778}"/>
              </a:ext>
            </a:extLst>
          </p:cNvPr>
          <p:cNvSpPr txBox="1"/>
          <p:nvPr/>
        </p:nvSpPr>
        <p:spPr>
          <a:xfrm>
            <a:off x="3796322" y="5055948"/>
            <a:ext cx="4599355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vailable in AI Studio and GitHub Model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EE59FF-5EC6-07F7-BF44-7C36A2659B72}"/>
              </a:ext>
            </a:extLst>
          </p:cNvPr>
          <p:cNvSpPr txBox="1"/>
          <p:nvPr/>
        </p:nvSpPr>
        <p:spPr>
          <a:xfrm>
            <a:off x="433614" y="5709116"/>
            <a:ext cx="11059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89510">
                      <a:srgbClr val="FFFFFF"/>
                    </a:gs>
                    <a:gs pos="68966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Small Semibol" pitchFamily="2" charset="0"/>
                <a:ea typeface="+mn-ea"/>
                <a:cs typeface="+mn-cs"/>
                <a:hlinkClick r:id="rId3"/>
              </a:rPr>
              <a:t>https://aka.ms/new-model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89510">
                    <a:srgbClr val="FFFFFF"/>
                  </a:gs>
                  <a:gs pos="68966">
                    <a:srgbClr val="FFFFFF"/>
                  </a:gs>
                </a:gsLst>
                <a:lin ang="5400000" scaled="1"/>
              </a:gradFill>
              <a:effectLst/>
              <a:uLnTx/>
              <a:uFillTx/>
              <a:latin typeface="Segoe UI Variable Small Semibol" pitchFamily="2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8E55DAB-F33D-B001-CF6F-1B4389F1EA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907279" y="1148884"/>
            <a:ext cx="2377441" cy="5539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35B884">
                  <a:lumMod val="75000"/>
                </a:srgbClr>
              </a:gs>
              <a:gs pos="56000">
                <a:srgbClr val="C03BC4"/>
              </a:gs>
              <a:gs pos="100000">
                <a:srgbClr val="FF5C39"/>
              </a:gs>
              <a:gs pos="81000">
                <a:srgbClr val="F4364C"/>
              </a:gs>
              <a:gs pos="16000">
                <a:srgbClr val="0078D4"/>
              </a:gs>
            </a:gsLst>
            <a:path path="circle">
              <a:fillToRect r="100000" b="100000"/>
            </a:path>
            <a:tileRect l="-100000" t="-100000"/>
          </a:gradFill>
          <a:ln w="1587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2011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540123" fontAlgn="base">
              <a:spcBef>
                <a:spcPct val="0"/>
              </a:spcBef>
              <a:spcAft>
                <a:spcPct val="0"/>
              </a:spcAft>
              <a:defRPr sz="2000">
                <a:latin typeface="Segoe UI Variable Display Semib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5401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Announcing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1412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Rot by="21600000">
                                      <p:cBhvr>
                                        <p:cTn id="9" dur="4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2.59259E-6 L 0 0.0196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26" grpId="0"/>
      <p:bldP spid="26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5BE2B1F-6BD2-6D97-738F-3BF9AEC5C4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44488"/>
            <a:ext cx="11017250" cy="554037"/>
          </a:xfrm>
        </p:spPr>
        <p:txBody>
          <a:bodyPr/>
          <a:lstStyle/>
          <a:p>
            <a:r>
              <a:rPr lang="en-GB"/>
              <a:t>Build your own copilot</a:t>
            </a:r>
            <a:endParaRPr lang="en-HK"/>
          </a:p>
        </p:txBody>
      </p:sp>
      <p:pic>
        <p:nvPicPr>
          <p:cNvPr id="4" name="Get started with GPT-4o with audio in Azure OpenAI Service (1)">
            <a:hlinkClick r:id="" action="ppaction://media"/>
            <a:extLst>
              <a:ext uri="{FF2B5EF4-FFF2-40B4-BE49-F238E27FC236}">
                <a16:creationId xmlns:a16="http://schemas.microsoft.com/office/drawing/2014/main" id="{7526BFC5-05A5-9D98-C68D-C480301F992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55725" y="1011198"/>
            <a:ext cx="9782175" cy="550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557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28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:a16="http://schemas.microsoft.com/office/drawing/2014/main" id="{4BA611AD-E726-6C4C-7919-37EB455EE9C3}"/>
              </a:ext>
            </a:extLst>
          </p:cNvPr>
          <p:cNvSpPr txBox="1">
            <a:spLocks/>
          </p:cNvSpPr>
          <p:nvPr/>
        </p:nvSpPr>
        <p:spPr>
          <a:xfrm>
            <a:off x="4116734" y="1412930"/>
            <a:ext cx="3958532" cy="70977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75000"/>
                </a:schemeClr>
              </a:gs>
              <a:gs pos="56000">
                <a:srgbClr val="C03BC4"/>
              </a:gs>
              <a:gs pos="100000">
                <a:srgbClr val="FF5C39"/>
              </a:gs>
              <a:gs pos="81000">
                <a:srgbClr val="F5495D"/>
              </a:gs>
              <a:gs pos="27000">
                <a:srgbClr val="0078D4"/>
              </a:gs>
            </a:gsLst>
            <a:path path="circle">
              <a:fillToRect r="100000" b="100000"/>
            </a:path>
            <a:tileRect l="-100000" t="-100000"/>
          </a:gradFill>
          <a:ln w="15875">
            <a:noFill/>
            <a:headEnd type="none" w="med" len="med"/>
            <a:tailEnd type="none" w="med" len="med"/>
          </a:ln>
          <a:effectLst>
            <a:outerShdw blurRad="63500" dist="635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2011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54012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Segoe UI Variable Display Semib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Key Capabili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A6F8B7B-B4BA-E038-A189-F3A7F514C31A}"/>
              </a:ext>
            </a:extLst>
          </p:cNvPr>
          <p:cNvSpPr txBox="1"/>
          <p:nvPr/>
        </p:nvSpPr>
        <p:spPr>
          <a:xfrm>
            <a:off x="1112100" y="3230911"/>
            <a:ext cx="1775638" cy="1346385"/>
          </a:xfrm>
          <a:prstGeom prst="rect">
            <a:avLst/>
          </a:prstGeom>
          <a:noFill/>
          <a:ln w="15875" cap="rnd">
            <a:noFill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811674">
              <a:spcBef>
                <a:spcPts val="174"/>
              </a:spcBef>
              <a:defRPr sz="2400"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11674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Generating complex code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1D20CC3-E8DF-298E-115B-9E56263DFC86}"/>
              </a:ext>
            </a:extLst>
          </p:cNvPr>
          <p:cNvGrpSpPr/>
          <p:nvPr/>
        </p:nvGrpSpPr>
        <p:grpSpPr>
          <a:xfrm>
            <a:off x="703238" y="2727801"/>
            <a:ext cx="10785523" cy="2469648"/>
            <a:chOff x="703239" y="2588101"/>
            <a:chExt cx="10785523" cy="2469648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77152044-D06D-3030-D4B2-BCF11D00BC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03239" y="2588101"/>
              <a:ext cx="2593364" cy="2469648"/>
            </a:xfrm>
            <a:prstGeom prst="roundRect">
              <a:avLst>
                <a:gd name="adj" fmla="val 4109"/>
              </a:avLst>
            </a:prstGeom>
            <a:noFill/>
            <a:ln w="15875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674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1C8CD48E-97C2-F31F-57AC-A733205E25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433959" y="2588101"/>
              <a:ext cx="2593364" cy="2469648"/>
            </a:xfrm>
            <a:prstGeom prst="roundRect">
              <a:avLst>
                <a:gd name="adj" fmla="val 4109"/>
              </a:avLst>
            </a:prstGeom>
            <a:noFill/>
            <a:ln w="15875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674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ABC4962-66DA-A832-B731-CB1661D476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164679" y="2588101"/>
              <a:ext cx="2593364" cy="2469648"/>
            </a:xfrm>
            <a:prstGeom prst="roundRect">
              <a:avLst>
                <a:gd name="adj" fmla="val 4109"/>
              </a:avLst>
            </a:prstGeom>
            <a:noFill/>
            <a:ln w="15875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674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2828694-347D-78C2-6749-52D19EBB9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8895398" y="2588101"/>
              <a:ext cx="2593364" cy="2469648"/>
            </a:xfrm>
            <a:prstGeom prst="roundRect">
              <a:avLst>
                <a:gd name="adj" fmla="val 4109"/>
              </a:avLst>
            </a:prstGeom>
            <a:noFill/>
            <a:ln w="15875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1674" rtl="0" eaLnBrk="1" fontAlgn="auto" latinLnBrk="0" hangingPunct="1">
                <a:lnSpc>
                  <a:spcPct val="100000"/>
                </a:lnSpc>
                <a:spcBef>
                  <a:spcPts val="17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CA0F09D-A0EB-AB17-BF1C-DBBE4317AF77}"/>
              </a:ext>
            </a:extLst>
          </p:cNvPr>
          <p:cNvSpPr txBox="1"/>
          <p:nvPr/>
        </p:nvSpPr>
        <p:spPr>
          <a:xfrm>
            <a:off x="3705837" y="3230908"/>
            <a:ext cx="2049978" cy="1346385"/>
          </a:xfrm>
          <a:prstGeom prst="rect">
            <a:avLst/>
          </a:prstGeom>
          <a:noFill/>
          <a:ln w="15875" cap="rnd">
            <a:noFill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811674">
              <a:spcBef>
                <a:spcPts val="174"/>
              </a:spcBef>
              <a:defRPr sz="2400"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11674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Problem-solving and brainstorm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B5512-3552-BE04-7675-581A58B57F98}"/>
              </a:ext>
            </a:extLst>
          </p:cNvPr>
          <p:cNvSpPr txBox="1"/>
          <p:nvPr/>
        </p:nvSpPr>
        <p:spPr>
          <a:xfrm>
            <a:off x="6504863" y="3289432"/>
            <a:ext cx="1912993" cy="1346385"/>
          </a:xfrm>
          <a:prstGeom prst="rect">
            <a:avLst/>
          </a:prstGeom>
          <a:noFill/>
          <a:ln w="15875" cap="rnd">
            <a:noFill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811674">
              <a:spcBef>
                <a:spcPts val="174"/>
              </a:spcBef>
              <a:defRPr sz="2400"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11674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Comparative analysis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89DA39-4752-1AE7-71AB-BED66F427040}"/>
              </a:ext>
            </a:extLst>
          </p:cNvPr>
          <p:cNvSpPr txBox="1"/>
          <p:nvPr/>
        </p:nvSpPr>
        <p:spPr>
          <a:xfrm>
            <a:off x="9304260" y="3230909"/>
            <a:ext cx="1775638" cy="1346385"/>
          </a:xfrm>
          <a:prstGeom prst="rect">
            <a:avLst/>
          </a:prstGeom>
          <a:noFill/>
          <a:ln w="15875" cap="rnd">
            <a:noFill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811674">
              <a:spcBef>
                <a:spcPts val="174"/>
              </a:spcBef>
              <a:defRPr sz="2400"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latin typeface="Segoe UI Variable Display Semib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11674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Instruction following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64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3.7037E-7 L -6.25E-7 -0.04861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3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2.96296E-6 L -2.5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22222E-6 L 0 0.03541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2.96296E-6 L -8.33333E-7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2.22222E-6 L 8.33333E-7 0.03541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2.96296E-6 L 2.5E-6 0.03542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/>
      <p:bldP spid="17" grpId="1"/>
      <p:bldP spid="2" grpId="0"/>
      <p:bldP spid="2" grpId="1"/>
      <p:bldP spid="4" grpId="0"/>
      <p:bldP spid="4" grpId="1"/>
      <p:bldP spid="5" grpId="0"/>
      <p:bldP spid="5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>
            <a:extLst>
              <a:ext uri="{FF2B5EF4-FFF2-40B4-BE49-F238E27FC236}">
                <a16:creationId xmlns:a16="http://schemas.microsoft.com/office/drawing/2014/main" id="{F6D58C4A-BD90-F341-FFA0-DF9C482AD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84238"/>
            <a:ext cx="12192000" cy="508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94086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F9A03E5-6D49-9281-D621-14A51EB99A19}"/>
              </a:ext>
            </a:extLst>
          </p:cNvPr>
          <p:cNvCxnSpPr/>
          <p:nvPr/>
        </p:nvCxnSpPr>
        <p:spPr>
          <a:xfrm rot="16200000">
            <a:off x="6194423" y="-2444386"/>
            <a:ext cx="0" cy="10680194"/>
          </a:xfrm>
          <a:prstGeom prst="line">
            <a:avLst/>
          </a:prstGeom>
          <a:noFill/>
          <a:ln w="15875" cap="rnd">
            <a:solidFill>
              <a:srgbClr val="657076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7DE3FAD-32F7-6948-1ED7-4BB61A018DF8}"/>
              </a:ext>
            </a:extLst>
          </p:cNvPr>
          <p:cNvCxnSpPr/>
          <p:nvPr/>
        </p:nvCxnSpPr>
        <p:spPr>
          <a:xfrm rot="16200000">
            <a:off x="6194426" y="-1263834"/>
            <a:ext cx="0" cy="10680194"/>
          </a:xfrm>
          <a:prstGeom prst="line">
            <a:avLst/>
          </a:prstGeom>
          <a:noFill/>
          <a:ln w="15875" cap="rnd">
            <a:solidFill>
              <a:srgbClr val="657076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E1AEBA5-692B-7BDA-1162-DF376280D824}"/>
              </a:ext>
            </a:extLst>
          </p:cNvPr>
          <p:cNvCxnSpPr/>
          <p:nvPr/>
        </p:nvCxnSpPr>
        <p:spPr>
          <a:xfrm rot="16200000">
            <a:off x="6194427" y="-170742"/>
            <a:ext cx="0" cy="10680194"/>
          </a:xfrm>
          <a:prstGeom prst="line">
            <a:avLst/>
          </a:prstGeom>
          <a:noFill/>
          <a:ln w="15875" cap="rnd">
            <a:solidFill>
              <a:srgbClr val="657076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2" name="Rounded Rectangle 64">
            <a:extLst>
              <a:ext uri="{FF2B5EF4-FFF2-40B4-BE49-F238E27FC236}">
                <a16:creationId xmlns:a16="http://schemas.microsoft.com/office/drawing/2014/main" id="{307279DE-7EEC-A10F-3307-E8D9ACDD6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54329" y="1735973"/>
            <a:ext cx="10680192" cy="4389120"/>
          </a:xfrm>
          <a:prstGeom prst="roundRect">
            <a:avLst>
              <a:gd name="adj" fmla="val 4972"/>
            </a:avLst>
          </a:prstGeom>
          <a:noFill/>
          <a:ln w="1905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lin ang="12600000" scaled="0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3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674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13123F0-DB6A-A075-77EA-DB2AC9A49C1F}"/>
              </a:ext>
            </a:extLst>
          </p:cNvPr>
          <p:cNvGraphicFramePr>
            <a:graphicFrameLocks noGrp="1"/>
          </p:cNvGraphicFramePr>
          <p:nvPr/>
        </p:nvGraphicFramePr>
        <p:xfrm>
          <a:off x="1533525" y="1743276"/>
          <a:ext cx="9728200" cy="4477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05190">
                  <a:extLst>
                    <a:ext uri="{9D8B030D-6E8A-4147-A177-3AD203B41FA5}">
                      <a16:colId xmlns:a16="http://schemas.microsoft.com/office/drawing/2014/main" val="356114388"/>
                    </a:ext>
                  </a:extLst>
                </a:gridCol>
                <a:gridCol w="6223010">
                  <a:extLst>
                    <a:ext uri="{9D8B030D-6E8A-4147-A177-3AD203B41FA5}">
                      <a16:colId xmlns:a16="http://schemas.microsoft.com/office/drawing/2014/main" val="3147037242"/>
                    </a:ext>
                  </a:extLst>
                </a:gridCol>
              </a:tblGrid>
              <a:tr h="1160081">
                <a:tc>
                  <a:txBody>
                    <a:bodyPr/>
                    <a:lstStyle/>
                    <a:p>
                      <a:pPr marL="0" marR="0" lvl="0" indent="0" algn="l" defTabSz="91410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o1-pre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Focused on advanced reasoning and solving complex problems, including math and science tasks. </a:t>
                      </a:r>
                      <a:endParaRPr kumimoji="0" lang="en-US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Segoe UI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529335"/>
                  </a:ext>
                </a:extLst>
              </a:tr>
              <a:tr h="1181100">
                <a:tc>
                  <a:txBody>
                    <a:bodyPr/>
                    <a:lstStyle/>
                    <a:p>
                      <a:pPr marL="0" marR="0" lvl="0" indent="0" algn="l" defTabSz="91410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o1-min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Smaller</a:t>
                      </a:r>
                      <a:r>
                        <a:rPr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,</a:t>
                      </a: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 faster,</a:t>
                      </a:r>
                      <a:r>
                        <a:rPr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 and more</a:t>
                      </a: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 </a:t>
                      </a:r>
                      <a:r>
                        <a:rPr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cost-efficient </a:t>
                      </a: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version of o1-preview. Performs well at instruction following and small context operations.</a:t>
                      </a:r>
                      <a:r>
                        <a:rPr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 </a:t>
                      </a:r>
                      <a:endParaRPr kumimoji="0" lang="en-US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370330"/>
                  </a:ext>
                </a:extLst>
              </a:tr>
              <a:tr h="1079500">
                <a:tc>
                  <a:txBody>
                    <a:bodyPr/>
                    <a:lstStyle/>
                    <a:p>
                      <a:pPr marL="0" marR="0" lvl="0" indent="0" algn="l" defTabSz="91410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GPT-4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CA" sz="16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A versatile, multimodal model for text and image processing, non-English languages, and vision tasks.</a:t>
                      </a:r>
                      <a:endParaRPr kumimoji="0" lang="en-US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Segoe UI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2492217"/>
                  </a:ext>
                </a:extLst>
              </a:tr>
              <a:tr h="1056567">
                <a:tc>
                  <a:txBody>
                    <a:bodyPr/>
                    <a:lstStyle/>
                    <a:p>
                      <a:pPr marL="0" marR="0" lvl="0" indent="0" algn="l" defTabSz="91410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GPT-4o-min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CA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bold"/>
                          <a:ea typeface="+mn-ea"/>
                          <a:cs typeface="Segoe UI"/>
                        </a:rPr>
                        <a:t>A cost-effective version of GPT-4o for lightweight applications.</a:t>
                      </a:r>
                      <a:endParaRPr kumimoji="0" lang="en-US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Segoe UI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87007"/>
                  </a:ext>
                </a:extLst>
              </a:tr>
            </a:tbl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59A10861-9833-B5DE-24CE-0580BE9C2576}"/>
              </a:ext>
            </a:extLst>
          </p:cNvPr>
          <p:cNvSpPr txBox="1">
            <a:spLocks/>
          </p:cNvSpPr>
          <p:nvPr/>
        </p:nvSpPr>
        <p:spPr>
          <a:xfrm>
            <a:off x="1533525" y="546125"/>
            <a:ext cx="9134475" cy="677108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800" b="0" kern="1200" cap="none" spc="-50" baseline="0">
                <a:ln w="3175">
                  <a:noFill/>
                </a:ln>
                <a:gradFill>
                  <a:gsLst>
                    <a:gs pos="4321">
                      <a:srgbClr val="000000"/>
                    </a:gs>
                    <a:gs pos="21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89510">
                      <a:srgbClr val="FFFFFF"/>
                    </a:gs>
                    <a:gs pos="68966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</a:rPr>
              <a:t>Model Guidance</a:t>
            </a:r>
          </a:p>
        </p:txBody>
      </p:sp>
    </p:spTree>
    <p:extLst>
      <p:ext uri="{BB962C8B-B14F-4D97-AF65-F5344CB8AC3E}">
        <p14:creationId xmlns:p14="http://schemas.microsoft.com/office/powerpoint/2010/main" val="21310043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-2.22222E-6 L -2.916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-4.44444E-6 L -2.91667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-3.7037E-6 L -2.91667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1.85185E-6 L -2.91667E-6 0.03541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33333E-6 -1.85185E-6 L 3.33333E-6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11" grpId="0"/>
      <p:bldP spid="11" grpId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98089-DBF8-4479-013F-9D5B0C88B75C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zure OpenAI Service Offering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F7039C-5B88-6C67-969B-2A49250DEA1B}"/>
              </a:ext>
            </a:extLst>
          </p:cNvPr>
          <p:cNvGrpSpPr/>
          <p:nvPr/>
        </p:nvGrpSpPr>
        <p:grpSpPr>
          <a:xfrm>
            <a:off x="835635" y="1721347"/>
            <a:ext cx="10324683" cy="4024492"/>
            <a:chOff x="835635" y="1721347"/>
            <a:chExt cx="10324683" cy="402449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119F8F88-82FE-ECD3-7A0B-9158D71FA4AC}"/>
                </a:ext>
              </a:extLst>
            </p:cNvPr>
            <p:cNvSpPr/>
            <p:nvPr/>
          </p:nvSpPr>
          <p:spPr>
            <a:xfrm>
              <a:off x="835635" y="1721347"/>
              <a:ext cx="10324681" cy="1207347"/>
            </a:xfrm>
            <a:prstGeom prst="roundRect">
              <a:avLst/>
            </a:prstGeom>
            <a:solidFill>
              <a:srgbClr val="0078D4"/>
            </a:solidFill>
            <a:ln>
              <a:noFill/>
            </a:ln>
            <a:effectLst/>
          </p:spPr>
          <p:txBody>
            <a:bodyPr spcFirstLastPara="0" vert="horz" wrap="square" lIns="213162" tIns="213162" rIns="5811007" bIns="213162" numCol="1" spcCol="1270" anchor="ctr" anchorCtr="0">
              <a:noAutofit/>
            </a:bodyPr>
            <a:lstStyle/>
            <a:p>
              <a:pPr marL="0" marR="0" lvl="0" indent="0" defTabSz="1111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Service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6B16D85-FBE0-8B06-80A3-0AE8D1C82C96}"/>
                </a:ext>
              </a:extLst>
            </p:cNvPr>
            <p:cNvSpPr/>
            <p:nvPr/>
          </p:nvSpPr>
          <p:spPr>
            <a:xfrm>
              <a:off x="6510649" y="1902273"/>
              <a:ext cx="1671544" cy="845494"/>
            </a:xfrm>
            <a:prstGeom prst="roundRect">
              <a:avLst/>
            </a:prstGeom>
            <a:solidFill>
              <a:srgbClr val="C03BC4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82808" tIns="82808" rIns="82808" bIns="82808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Azure OpenAI Service offerings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385D38A-5032-6078-4EC2-DCB2A4B696A4}"/>
                </a:ext>
              </a:extLst>
            </p:cNvPr>
            <p:cNvSpPr/>
            <p:nvPr/>
          </p:nvSpPr>
          <p:spPr>
            <a:xfrm>
              <a:off x="835635" y="3129919"/>
              <a:ext cx="10324682" cy="1207347"/>
            </a:xfrm>
            <a:prstGeom prst="roundRect">
              <a:avLst/>
            </a:prstGeom>
            <a:solidFill>
              <a:srgbClr val="0078D4"/>
            </a:solidFill>
            <a:ln>
              <a:noFill/>
            </a:ln>
            <a:effectLst/>
          </p:spPr>
          <p:txBody>
            <a:bodyPr spcFirstLastPara="0" vert="horz" wrap="square" lIns="213162" tIns="213162" rIns="5811007" bIns="213162" numCol="1" spcCol="1270" anchor="ctr" anchorCtr="0">
              <a:noAutofit/>
            </a:bodyPr>
            <a:lstStyle/>
            <a:p>
              <a:pPr marL="0" marR="0" lvl="0" indent="0" defTabSz="1111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Offer type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45DF148A-A6BD-A621-9D42-C948B9977593}"/>
                </a:ext>
              </a:extLst>
            </p:cNvPr>
            <p:cNvSpPr/>
            <p:nvPr/>
          </p:nvSpPr>
          <p:spPr>
            <a:xfrm>
              <a:off x="4673971" y="3310427"/>
              <a:ext cx="1444471" cy="84549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82808" tIns="82808" rIns="82808" bIns="82808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Standard (</a:t>
              </a:r>
              <a:r>
                <a:rPr kumimoji="0" lang="en-U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PayGo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6959BD8-19AD-1697-50F5-2BFA8A83176B}"/>
                </a:ext>
              </a:extLst>
            </p:cNvPr>
            <p:cNvSpPr/>
            <p:nvPr/>
          </p:nvSpPr>
          <p:spPr>
            <a:xfrm>
              <a:off x="8923518" y="3334189"/>
              <a:ext cx="1441817" cy="84549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82808" tIns="82808" rIns="82808" bIns="82808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endParaRPr>
            </a:p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Provisioned (PTUs)</a:t>
              </a:r>
            </a:p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7BF751B-A620-283E-F6CD-64A1D82FF1FD}"/>
                </a:ext>
              </a:extLst>
            </p:cNvPr>
            <p:cNvSpPr/>
            <p:nvPr/>
          </p:nvSpPr>
          <p:spPr>
            <a:xfrm>
              <a:off x="835636" y="4538492"/>
              <a:ext cx="10324682" cy="1207347"/>
            </a:xfrm>
            <a:prstGeom prst="roundRect">
              <a:avLst/>
            </a:prstGeom>
            <a:solidFill>
              <a:srgbClr val="0078D4"/>
            </a:solidFill>
            <a:ln>
              <a:noFill/>
            </a:ln>
            <a:effectLst/>
          </p:spPr>
          <p:txBody>
            <a:bodyPr spcFirstLastPara="0" vert="horz" wrap="square" lIns="213162" tIns="213162" rIns="5811007" bIns="213162" numCol="1" spcCol="1270" anchor="ctr" anchorCtr="0">
              <a:noAutofit/>
            </a:bodyPr>
            <a:lstStyle/>
            <a:p>
              <a:pPr marL="0" marR="0" lvl="0" indent="0" defTabSz="1111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Deployment type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3FE63EB-C6F8-722F-3BFE-8F3B4C4CA2E2}"/>
                </a:ext>
              </a:extLst>
            </p:cNvPr>
            <p:cNvSpPr/>
            <p:nvPr/>
          </p:nvSpPr>
          <p:spPr>
            <a:xfrm>
              <a:off x="4058224" y="4719418"/>
              <a:ext cx="1208042" cy="845494"/>
            </a:xfrm>
            <a:prstGeom prst="roundRect">
              <a:avLst/>
            </a:prstGeom>
            <a:solidFill>
              <a:srgbClr val="C03BC4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82808" tIns="82808" rIns="82808" bIns="82808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Global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2534D1A6-4B61-B7CD-13AD-FC0C457DA93D}"/>
                </a:ext>
              </a:extLst>
            </p:cNvPr>
            <p:cNvSpPr/>
            <p:nvPr/>
          </p:nvSpPr>
          <p:spPr>
            <a:xfrm>
              <a:off x="5543160" y="4719000"/>
              <a:ext cx="1189029" cy="845494"/>
            </a:xfrm>
            <a:prstGeom prst="roundRect">
              <a:avLst/>
            </a:prstGeom>
            <a:solidFill>
              <a:srgbClr val="C03BC4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67568" tIns="67568" rIns="67568" bIns="67568" numCol="1" spcCol="127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Regional</a:t>
              </a:r>
            </a:p>
          </p:txBody>
        </p:sp>
        <p:cxnSp>
          <p:nvCxnSpPr>
            <p:cNvPr id="12" name="Connector: Elbow 11">
              <a:extLst>
                <a:ext uri="{FF2B5EF4-FFF2-40B4-BE49-F238E27FC236}">
                  <a16:creationId xmlns:a16="http://schemas.microsoft.com/office/drawing/2014/main" id="{02966EEF-319D-AC4F-2CE6-3D222171A7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5" idx="2"/>
              <a:endCxn id="8" idx="0"/>
            </p:cNvCxnSpPr>
            <p:nvPr/>
          </p:nvCxnSpPr>
          <p:spPr>
            <a:xfrm rot="16200000" flipH="1">
              <a:off x="8202213" y="1891975"/>
              <a:ext cx="586422" cy="2298006"/>
            </a:xfrm>
            <a:prstGeom prst="bentConnector3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28E2F0CB-43FD-8BF0-9CDC-1BF5AD24CD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5" idx="2"/>
              <a:endCxn id="7" idx="0"/>
            </p:cNvCxnSpPr>
            <p:nvPr/>
          </p:nvCxnSpPr>
          <p:spPr>
            <a:xfrm rot="5400000">
              <a:off x="6089984" y="2053990"/>
              <a:ext cx="562660" cy="1950214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  <p:cxnSp>
          <p:nvCxnSpPr>
            <p:cNvPr id="14" name="Connector: Elbow 13">
              <a:extLst>
                <a:ext uri="{FF2B5EF4-FFF2-40B4-BE49-F238E27FC236}">
                  <a16:creationId xmlns:a16="http://schemas.microsoft.com/office/drawing/2014/main" id="{41AA1002-DB32-9B3C-74EB-E7D76F37A1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7" idx="2"/>
              <a:endCxn id="10" idx="0"/>
            </p:cNvCxnSpPr>
            <p:nvPr/>
          </p:nvCxnSpPr>
          <p:spPr>
            <a:xfrm rot="5400000">
              <a:off x="4747478" y="4070688"/>
              <a:ext cx="563497" cy="733962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1F7FFBFC-3CC0-3937-9FA1-F3FCE19EDC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7" idx="2"/>
              <a:endCxn id="11" idx="0"/>
            </p:cNvCxnSpPr>
            <p:nvPr/>
          </p:nvCxnSpPr>
          <p:spPr>
            <a:xfrm rot="16200000" flipH="1">
              <a:off x="5485402" y="4066726"/>
              <a:ext cx="563079" cy="741468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1C41339-7085-64FA-A218-3B7EF9B8F847}"/>
                </a:ext>
              </a:extLst>
            </p:cNvPr>
            <p:cNvSpPr/>
            <p:nvPr/>
          </p:nvSpPr>
          <p:spPr>
            <a:xfrm>
              <a:off x="9954777" y="4759477"/>
              <a:ext cx="1079067" cy="845494"/>
            </a:xfrm>
            <a:prstGeom prst="roundRect">
              <a:avLst/>
            </a:prstGeom>
            <a:solidFill>
              <a:srgbClr val="C03BC4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82808" tIns="82808" rIns="82808" bIns="82808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Regional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452BDBC-3E7C-4585-B970-6B94A3A8CC8B}"/>
                </a:ext>
              </a:extLst>
            </p:cNvPr>
            <p:cNvSpPr/>
            <p:nvPr/>
          </p:nvSpPr>
          <p:spPr>
            <a:xfrm>
              <a:off x="8488854" y="4736250"/>
              <a:ext cx="1079067" cy="845494"/>
            </a:xfrm>
            <a:prstGeom prst="roundRect">
              <a:avLst/>
            </a:prstGeom>
            <a:solidFill>
              <a:srgbClr val="C03BC4"/>
            </a:solidFill>
            <a:ln w="19050" cap="flat" cmpd="sng" algn="ctr">
              <a:noFill/>
              <a:prstDash val="solid"/>
              <a:miter lim="800000"/>
            </a:ln>
            <a:effectLst>
              <a:outerShdw blurRad="63500" dist="63500" dir="2400000" algn="ctr" rotWithShape="0">
                <a:srgbClr val="454142">
                  <a:alpha val="20000"/>
                </a:srgbClr>
              </a:outerShdw>
            </a:effectLst>
          </p:spPr>
          <p:txBody>
            <a:bodyPr spcFirstLastPara="0" vert="horz" wrap="square" lIns="67568" tIns="67568" rIns="67568" bIns="67568" numCol="1" spcCol="127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Global</a:t>
              </a: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AB91796-21CE-1EB3-6F92-AFC730B6290E}"/>
              </a:ext>
            </a:extLst>
          </p:cNvPr>
          <p:cNvSpPr/>
          <p:nvPr/>
        </p:nvSpPr>
        <p:spPr>
          <a:xfrm>
            <a:off x="6809688" y="3300282"/>
            <a:ext cx="1422583" cy="845494"/>
          </a:xfrm>
          <a:prstGeom prst="roundRect">
            <a:avLst/>
          </a:prstGeom>
          <a:solidFill>
            <a:srgbClr val="FFFFFF"/>
          </a:solidFill>
          <a:ln w="19050" cap="flat" cmpd="sng" algn="ctr">
            <a:noFill/>
            <a:prstDash val="solid"/>
            <a:miter lim="800000"/>
          </a:ln>
          <a:effectLst>
            <a:outerShdw blurRad="63500" dist="63500" dir="2400000" algn="ctr" rotWithShape="0">
              <a:srgbClr val="454142">
                <a:alpha val="20000"/>
              </a:srgbClr>
            </a:outerShdw>
          </a:effectLst>
        </p:spPr>
        <p:txBody>
          <a:bodyPr spcFirstLastPara="0" vert="horz" wrap="square" lIns="82808" tIns="82808" rIns="82808" bIns="82808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Batch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BF42B74-C5CF-A024-255A-F3EF26FF5BBC}"/>
              </a:ext>
            </a:extLst>
          </p:cNvPr>
          <p:cNvSpPr/>
          <p:nvPr/>
        </p:nvSpPr>
        <p:spPr>
          <a:xfrm>
            <a:off x="6972278" y="4718581"/>
            <a:ext cx="1208042" cy="845494"/>
          </a:xfrm>
          <a:prstGeom prst="roundRect">
            <a:avLst/>
          </a:prstGeom>
          <a:solidFill>
            <a:srgbClr val="C03BC4"/>
          </a:solidFill>
          <a:ln w="19050" cap="flat" cmpd="sng" algn="ctr">
            <a:noFill/>
            <a:prstDash val="solid"/>
            <a:miter lim="800000"/>
          </a:ln>
          <a:effectLst>
            <a:outerShdw blurRad="63500" dist="63500" dir="2400000" algn="ctr" rotWithShape="0">
              <a:srgbClr val="454142">
                <a:alpha val="20000"/>
              </a:srgbClr>
            </a:outerShdw>
          </a:effectLst>
        </p:spPr>
        <p:txBody>
          <a:bodyPr spcFirstLastPara="0" vert="horz" wrap="square" lIns="82808" tIns="82808" rIns="82808" bIns="82808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Global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D15AECC3-7FD9-FE6E-907B-37A2E444E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16200000" flipH="1">
            <a:off x="9733621" y="4066726"/>
            <a:ext cx="563079" cy="74146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FFFF"/>
            </a:solidFill>
            <a:prstDash val="solid"/>
            <a:headEnd type="none" w="lg" len="med"/>
            <a:tailEnd type="none" w="lg" len="med"/>
          </a:ln>
          <a:effectLst/>
        </p:spPr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9C9DA9A-4DB3-E169-FE36-15EBA87169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5400000">
            <a:off x="8986460" y="4070688"/>
            <a:ext cx="563497" cy="7339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FFFF"/>
            </a:solidFill>
            <a:prstDash val="solid"/>
            <a:headEnd type="none" w="lg" len="med"/>
            <a:tailEnd type="none" w="lg" len="med"/>
          </a:ln>
          <a:effectLst/>
        </p:spPr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A6FB0EE-608C-9682-F368-443BED372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16200000" flipH="1">
            <a:off x="7241257" y="4419281"/>
            <a:ext cx="559447" cy="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FFFF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6507E6F-D04A-20A4-B2EC-CC3607C5FF06}"/>
              </a:ext>
            </a:extLst>
          </p:cNvPr>
          <p:cNvSpPr txBox="1"/>
          <p:nvPr/>
        </p:nvSpPr>
        <p:spPr>
          <a:xfrm>
            <a:off x="762989" y="6005632"/>
            <a:ext cx="1084379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</a:rPr>
              <a:t>Global deployments </a:t>
            </a: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leverage Azure's global infrastructure, dynamically route customer traffic to the data </a:t>
            </a:r>
            <a:r>
              <a:rPr kumimoji="0" lang="en-GB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enter</a:t>
            </a: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with best availability for the customer’s inference requests.</a:t>
            </a:r>
            <a:endParaRPr kumimoji="0" lang="en-H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A6A596-D4DA-2B7B-DE9C-A49C68EA02C6}"/>
              </a:ext>
            </a:extLst>
          </p:cNvPr>
          <p:cNvSpPr txBox="1"/>
          <p:nvPr/>
        </p:nvSpPr>
        <p:spPr>
          <a:xfrm>
            <a:off x="154004" y="149423"/>
            <a:ext cx="212808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</a:rPr>
              <a:t>As of 15 Oct 2024</a:t>
            </a:r>
            <a:endParaRPr kumimoji="0" lang="en-HK" sz="2000" b="1" i="0" u="none" strike="noStrike" kern="0" cap="none" spc="0" normalizeH="0" baseline="0" noProof="0" dirty="0" err="1">
              <a:ln>
                <a:noFill/>
              </a:ln>
              <a:solidFill>
                <a:srgbClr val="C03BC4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50698145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482DE0-B3ED-AC38-671E-A41B04A5C8AF}"/>
              </a:ext>
            </a:extLst>
          </p:cNvPr>
          <p:cNvSpPr txBox="1">
            <a:spLocks/>
          </p:cNvSpPr>
          <p:nvPr/>
        </p:nvSpPr>
        <p:spPr>
          <a:xfrm>
            <a:off x="584200" y="413200"/>
            <a:ext cx="5810549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zure Data Capabilities</a:t>
            </a:r>
            <a:endParaRPr kumimoji="0" lang="en-US" sz="3600" b="0" i="0" u="none" strike="noStrike" kern="1200" cap="none" spc="-5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0AC73334-93E7-DF03-6D75-4630591838C5}"/>
              </a:ext>
            </a:extLst>
          </p:cNvPr>
          <p:cNvSpPr txBox="1">
            <a:spLocks/>
          </p:cNvSpPr>
          <p:nvPr/>
        </p:nvSpPr>
        <p:spPr>
          <a:xfrm>
            <a:off x="584200" y="903619"/>
            <a:ext cx="4249191" cy="4308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ata integration across Microsoft Cloud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8CBE9F-DD3E-BA92-F163-42243D1C4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4200" y="1891590"/>
            <a:ext cx="2169396" cy="2533260"/>
          </a:xfrm>
          <a:prstGeom prst="rect">
            <a:avLst/>
          </a:prstGeom>
          <a:solidFill>
            <a:srgbClr val="000000">
              <a:lumMod val="85000"/>
              <a:lumOff val="1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 w="3175"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6</a:t>
            </a:r>
          </a:p>
        </p:txBody>
      </p:sp>
      <p:pic>
        <p:nvPicPr>
          <p:cNvPr id="5" name="Graphic 4" descr="Azure SQL logo">
            <a:extLst>
              <a:ext uri="{FF2B5EF4-FFF2-40B4-BE49-F238E27FC236}">
                <a16:creationId xmlns:a16="http://schemas.microsoft.com/office/drawing/2014/main" id="{2C4E2214-0DD4-4F5D-FF4D-415953EC6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96489" y="2197275"/>
            <a:ext cx="544818" cy="544818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C6285A9-C7F0-788C-E82A-587485210AC8}"/>
              </a:ext>
            </a:extLst>
          </p:cNvPr>
          <p:cNvSpPr txBox="1">
            <a:spLocks/>
          </p:cNvSpPr>
          <p:nvPr/>
        </p:nvSpPr>
        <p:spPr>
          <a:xfrm>
            <a:off x="723731" y="2962471"/>
            <a:ext cx="189763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ata moderniz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C1E671-596C-6932-BDE1-86652F6F9B62}"/>
              </a:ext>
            </a:extLst>
          </p:cNvPr>
          <p:cNvSpPr txBox="1">
            <a:spLocks/>
          </p:cNvSpPr>
          <p:nvPr/>
        </p:nvSpPr>
        <p:spPr>
          <a:xfrm>
            <a:off x="452383" y="3728878"/>
            <a:ext cx="2437604" cy="3539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zure is the best </a:t>
            </a:r>
            <a:b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estination for all your data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7AE622-DEB5-F9CB-2313-876D9DB7CB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798767" y="1891590"/>
            <a:ext cx="2169396" cy="2533260"/>
          </a:xfrm>
          <a:prstGeom prst="rect">
            <a:avLst/>
          </a:prstGeom>
          <a:solidFill>
            <a:srgbClr val="000000">
              <a:lumMod val="85000"/>
              <a:lumOff val="1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 w="3175"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7</a:t>
            </a:r>
          </a:p>
        </p:txBody>
      </p:sp>
      <p:pic>
        <p:nvPicPr>
          <p:cNvPr id="9" name="Graphic 8" descr="Cosmos DB logo">
            <a:extLst>
              <a:ext uri="{FF2B5EF4-FFF2-40B4-BE49-F238E27FC236}">
                <a16:creationId xmlns:a16="http://schemas.microsoft.com/office/drawing/2014/main" id="{4F2D07EE-1881-80FD-59EE-5D57AE7693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79945" y="2166165"/>
            <a:ext cx="607042" cy="607040"/>
          </a:xfrm>
          <a:prstGeom prst="rect">
            <a:avLst/>
          </a:prstGeom>
        </p:spPr>
      </p:pic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BAEDDCCE-A204-D8AC-92BE-8C6E1D9070BB}"/>
              </a:ext>
            </a:extLst>
          </p:cNvPr>
          <p:cNvSpPr txBox="1">
            <a:spLocks/>
          </p:cNvSpPr>
          <p:nvPr/>
        </p:nvSpPr>
        <p:spPr>
          <a:xfrm>
            <a:off x="3084952" y="2965210"/>
            <a:ext cx="159702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Cloud native application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0906575C-EDE3-D9C7-CF2A-A0C3AFB1D8F1}"/>
              </a:ext>
            </a:extLst>
          </p:cNvPr>
          <p:cNvSpPr txBox="1">
            <a:spLocks/>
          </p:cNvSpPr>
          <p:nvPr/>
        </p:nvSpPr>
        <p:spPr>
          <a:xfrm>
            <a:off x="2886147" y="3727976"/>
            <a:ext cx="1988288" cy="332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Ultra low latency at any scale globally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288420-79C2-365A-1CE8-2FADB4A17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013334" y="1891590"/>
            <a:ext cx="2169396" cy="2533260"/>
          </a:xfrm>
          <a:prstGeom prst="rect">
            <a:avLst/>
          </a:prstGeom>
          <a:solidFill>
            <a:srgbClr val="000000">
              <a:lumMod val="85000"/>
              <a:lumOff val="1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 w="3175"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8</a:t>
            </a:r>
          </a:p>
        </p:txBody>
      </p:sp>
      <p:pic>
        <p:nvPicPr>
          <p:cNvPr id="13" name="Picture 12" descr="Azure Synapse logo">
            <a:extLst>
              <a:ext uri="{FF2B5EF4-FFF2-40B4-BE49-F238E27FC236}">
                <a16:creationId xmlns:a16="http://schemas.microsoft.com/office/drawing/2014/main" id="{FCD6100D-BD47-945F-952A-650C5CFF36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3657" y="2203748"/>
            <a:ext cx="531875" cy="531874"/>
          </a:xfrm>
          <a:prstGeom prst="rect">
            <a:avLst/>
          </a:prstGeom>
        </p:spPr>
      </p:pic>
      <p:pic>
        <p:nvPicPr>
          <p:cNvPr id="14" name="Picture 13" descr="Power BI logo">
            <a:extLst>
              <a:ext uri="{FF2B5EF4-FFF2-40B4-BE49-F238E27FC236}">
                <a16:creationId xmlns:a16="http://schemas.microsoft.com/office/drawing/2014/main" id="{B645BA75-0E37-DC1A-6293-47D2315280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5277" y="2129851"/>
            <a:ext cx="677130" cy="677130"/>
          </a:xfrm>
          <a:prstGeom prst="rect">
            <a:avLst/>
          </a:prstGeom>
          <a:effectLst/>
        </p:spPr>
      </p:pic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1BAEE36-E8E7-5118-B97D-5F734741F801}"/>
              </a:ext>
            </a:extLst>
          </p:cNvPr>
          <p:cNvSpPr txBox="1">
            <a:spLocks/>
          </p:cNvSpPr>
          <p:nvPr/>
        </p:nvSpPr>
        <p:spPr>
          <a:xfrm>
            <a:off x="5386168" y="2961159"/>
            <a:ext cx="141727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nalytics and insight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B9E6A7C0-DD5C-3605-256E-3E0DD539B6AA}"/>
              </a:ext>
            </a:extLst>
          </p:cNvPr>
          <p:cNvSpPr txBox="1">
            <a:spLocks/>
          </p:cNvSpPr>
          <p:nvPr/>
        </p:nvSpPr>
        <p:spPr>
          <a:xfrm>
            <a:off x="5601670" y="3728878"/>
            <a:ext cx="986274" cy="374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Fastest time to insight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C8BA21-1389-AF68-601D-98CB7152EC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227902" y="1891590"/>
            <a:ext cx="2169396" cy="2533260"/>
          </a:xfrm>
          <a:prstGeom prst="rect">
            <a:avLst/>
          </a:prstGeom>
          <a:solidFill>
            <a:srgbClr val="000000">
              <a:lumMod val="85000"/>
              <a:lumOff val="1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 w="3175"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9</a:t>
            </a:r>
          </a:p>
        </p:txBody>
      </p:sp>
      <p:pic>
        <p:nvPicPr>
          <p:cNvPr id="18" name="Graphic 17" descr="Azure Machine Learning logo&#10;">
            <a:extLst>
              <a:ext uri="{FF2B5EF4-FFF2-40B4-BE49-F238E27FC236}">
                <a16:creationId xmlns:a16="http://schemas.microsoft.com/office/drawing/2014/main" id="{D5878DBF-5038-2CC8-72B9-2F00871936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14464" y="2219208"/>
            <a:ext cx="500957" cy="500954"/>
          </a:xfrm>
          <a:prstGeom prst="rect">
            <a:avLst/>
          </a:prstGeom>
        </p:spPr>
      </p:pic>
      <p:pic>
        <p:nvPicPr>
          <p:cNvPr id="19" name="Picture 18" descr="Azure Databricks logo">
            <a:extLst>
              <a:ext uri="{FF2B5EF4-FFF2-40B4-BE49-F238E27FC236}">
                <a16:creationId xmlns:a16="http://schemas.microsoft.com/office/drawing/2014/main" id="{72E760D2-01E3-2FF4-497C-3246EFCB0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49730" y="2220863"/>
            <a:ext cx="461008" cy="497642"/>
          </a:xfrm>
          <a:prstGeom prst="rect">
            <a:avLst/>
          </a:prstGeom>
        </p:spPr>
      </p:pic>
      <p:sp>
        <p:nvSpPr>
          <p:cNvPr id="20" name="Content Placeholder 12">
            <a:extLst>
              <a:ext uri="{FF2B5EF4-FFF2-40B4-BE49-F238E27FC236}">
                <a16:creationId xmlns:a16="http://schemas.microsoft.com/office/drawing/2014/main" id="{CEE7F0FB-7570-7A6E-B102-B8C4CB5D7431}"/>
              </a:ext>
            </a:extLst>
          </p:cNvPr>
          <p:cNvSpPr txBox="1">
            <a:spLocks/>
          </p:cNvSpPr>
          <p:nvPr/>
        </p:nvSpPr>
        <p:spPr>
          <a:xfrm>
            <a:off x="7698569" y="2961055"/>
            <a:ext cx="1230329" cy="5733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ata scienc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4C4504F7-C1A5-5E01-425D-A23E2B4D7A88}"/>
              </a:ext>
            </a:extLst>
          </p:cNvPr>
          <p:cNvSpPr txBox="1">
            <a:spLocks/>
          </p:cNvSpPr>
          <p:nvPr/>
        </p:nvSpPr>
        <p:spPr>
          <a:xfrm>
            <a:off x="7415140" y="3731639"/>
            <a:ext cx="1803862" cy="4762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Responsible, powerful AI on your term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A2DFE1-2752-4F72-A18D-97F230435E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442470" y="1891590"/>
            <a:ext cx="2169396" cy="2533260"/>
          </a:xfrm>
          <a:prstGeom prst="rect">
            <a:avLst/>
          </a:prstGeom>
          <a:solidFill>
            <a:srgbClr val="000000">
              <a:lumMod val="85000"/>
              <a:lumOff val="1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 w="3175"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10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A4F275A-6C6E-3293-394C-58A0B3085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302516" y="2240764"/>
            <a:ext cx="449304" cy="457840"/>
            <a:chOff x="10302516" y="2955214"/>
            <a:chExt cx="449304" cy="457840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B670D061-FF2D-D1F9-B49D-1BDC005AC8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2516" y="2962011"/>
              <a:ext cx="449304" cy="451043"/>
            </a:xfrm>
            <a:custGeom>
              <a:avLst/>
              <a:gdLst>
                <a:gd name="T0" fmla="*/ 304 w 347"/>
                <a:gd name="T1" fmla="*/ 207 h 348"/>
                <a:gd name="T2" fmla="*/ 179 w 347"/>
                <a:gd name="T3" fmla="*/ 76 h 348"/>
                <a:gd name="T4" fmla="*/ 179 w 347"/>
                <a:gd name="T5" fmla="*/ 33 h 348"/>
                <a:gd name="T6" fmla="*/ 228 w 347"/>
                <a:gd name="T7" fmla="*/ 33 h 348"/>
                <a:gd name="T8" fmla="*/ 228 w 347"/>
                <a:gd name="T9" fmla="*/ 0 h 348"/>
                <a:gd name="T10" fmla="*/ 179 w 347"/>
                <a:gd name="T11" fmla="*/ 0 h 348"/>
                <a:gd name="T12" fmla="*/ 168 w 347"/>
                <a:gd name="T13" fmla="*/ 0 h 348"/>
                <a:gd name="T14" fmla="*/ 168 w 347"/>
                <a:gd name="T15" fmla="*/ 33 h 348"/>
                <a:gd name="T16" fmla="*/ 168 w 347"/>
                <a:gd name="T17" fmla="*/ 76 h 348"/>
                <a:gd name="T18" fmla="*/ 43 w 347"/>
                <a:gd name="T19" fmla="*/ 207 h 348"/>
                <a:gd name="T20" fmla="*/ 0 w 347"/>
                <a:gd name="T21" fmla="*/ 207 h 348"/>
                <a:gd name="T22" fmla="*/ 0 w 347"/>
                <a:gd name="T23" fmla="*/ 348 h 348"/>
                <a:gd name="T24" fmla="*/ 347 w 347"/>
                <a:gd name="T25" fmla="*/ 348 h 348"/>
                <a:gd name="T26" fmla="*/ 347 w 347"/>
                <a:gd name="T27" fmla="*/ 207 h 348"/>
                <a:gd name="T28" fmla="*/ 304 w 347"/>
                <a:gd name="T29" fmla="*/ 207 h 348"/>
                <a:gd name="T30" fmla="*/ 54 w 347"/>
                <a:gd name="T31" fmla="*/ 326 h 348"/>
                <a:gd name="T32" fmla="*/ 21 w 347"/>
                <a:gd name="T33" fmla="*/ 326 h 348"/>
                <a:gd name="T34" fmla="*/ 21 w 347"/>
                <a:gd name="T35" fmla="*/ 228 h 348"/>
                <a:gd name="T36" fmla="*/ 54 w 347"/>
                <a:gd name="T37" fmla="*/ 228 h 348"/>
                <a:gd name="T38" fmla="*/ 54 w 347"/>
                <a:gd name="T39" fmla="*/ 326 h 348"/>
                <a:gd name="T40" fmla="*/ 108 w 347"/>
                <a:gd name="T41" fmla="*/ 326 h 348"/>
                <a:gd name="T42" fmla="*/ 76 w 347"/>
                <a:gd name="T43" fmla="*/ 326 h 348"/>
                <a:gd name="T44" fmla="*/ 76 w 347"/>
                <a:gd name="T45" fmla="*/ 228 h 348"/>
                <a:gd name="T46" fmla="*/ 108 w 347"/>
                <a:gd name="T47" fmla="*/ 228 h 348"/>
                <a:gd name="T48" fmla="*/ 108 w 347"/>
                <a:gd name="T49" fmla="*/ 326 h 348"/>
                <a:gd name="T50" fmla="*/ 162 w 347"/>
                <a:gd name="T51" fmla="*/ 326 h 348"/>
                <a:gd name="T52" fmla="*/ 130 w 347"/>
                <a:gd name="T53" fmla="*/ 326 h 348"/>
                <a:gd name="T54" fmla="*/ 130 w 347"/>
                <a:gd name="T55" fmla="*/ 228 h 348"/>
                <a:gd name="T56" fmla="*/ 162 w 347"/>
                <a:gd name="T57" fmla="*/ 228 h 348"/>
                <a:gd name="T58" fmla="*/ 162 w 347"/>
                <a:gd name="T59" fmla="*/ 326 h 348"/>
                <a:gd name="T60" fmla="*/ 217 w 347"/>
                <a:gd name="T61" fmla="*/ 326 h 348"/>
                <a:gd name="T62" fmla="*/ 184 w 347"/>
                <a:gd name="T63" fmla="*/ 326 h 348"/>
                <a:gd name="T64" fmla="*/ 184 w 347"/>
                <a:gd name="T65" fmla="*/ 228 h 348"/>
                <a:gd name="T66" fmla="*/ 217 w 347"/>
                <a:gd name="T67" fmla="*/ 228 h 348"/>
                <a:gd name="T68" fmla="*/ 217 w 347"/>
                <a:gd name="T69" fmla="*/ 326 h 348"/>
                <a:gd name="T70" fmla="*/ 271 w 347"/>
                <a:gd name="T71" fmla="*/ 326 h 348"/>
                <a:gd name="T72" fmla="*/ 238 w 347"/>
                <a:gd name="T73" fmla="*/ 326 h 348"/>
                <a:gd name="T74" fmla="*/ 238 w 347"/>
                <a:gd name="T75" fmla="*/ 228 h 348"/>
                <a:gd name="T76" fmla="*/ 271 w 347"/>
                <a:gd name="T77" fmla="*/ 228 h 348"/>
                <a:gd name="T78" fmla="*/ 271 w 347"/>
                <a:gd name="T79" fmla="*/ 326 h 348"/>
                <a:gd name="T80" fmla="*/ 325 w 347"/>
                <a:gd name="T81" fmla="*/ 326 h 348"/>
                <a:gd name="T82" fmla="*/ 293 w 347"/>
                <a:gd name="T83" fmla="*/ 326 h 348"/>
                <a:gd name="T84" fmla="*/ 293 w 347"/>
                <a:gd name="T85" fmla="*/ 228 h 348"/>
                <a:gd name="T86" fmla="*/ 325 w 347"/>
                <a:gd name="T87" fmla="*/ 228 h 348"/>
                <a:gd name="T88" fmla="*/ 325 w 347"/>
                <a:gd name="T89" fmla="*/ 32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7" h="348">
                  <a:moveTo>
                    <a:pt x="304" y="207"/>
                  </a:moveTo>
                  <a:cubicBezTo>
                    <a:pt x="304" y="136"/>
                    <a:pt x="248" y="79"/>
                    <a:pt x="179" y="76"/>
                  </a:cubicBezTo>
                  <a:cubicBezTo>
                    <a:pt x="179" y="33"/>
                    <a:pt x="179" y="33"/>
                    <a:pt x="179" y="33"/>
                  </a:cubicBezTo>
                  <a:cubicBezTo>
                    <a:pt x="228" y="33"/>
                    <a:pt x="228" y="33"/>
                    <a:pt x="228" y="33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33"/>
                    <a:pt x="168" y="33"/>
                    <a:pt x="168" y="33"/>
                  </a:cubicBezTo>
                  <a:cubicBezTo>
                    <a:pt x="168" y="76"/>
                    <a:pt x="168" y="76"/>
                    <a:pt x="168" y="76"/>
                  </a:cubicBezTo>
                  <a:cubicBezTo>
                    <a:pt x="98" y="79"/>
                    <a:pt x="43" y="137"/>
                    <a:pt x="43" y="20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347" y="348"/>
                    <a:pt x="347" y="348"/>
                    <a:pt x="347" y="348"/>
                  </a:cubicBezTo>
                  <a:cubicBezTo>
                    <a:pt x="347" y="207"/>
                    <a:pt x="347" y="207"/>
                    <a:pt x="347" y="207"/>
                  </a:cubicBezTo>
                  <a:lnTo>
                    <a:pt x="304" y="207"/>
                  </a:lnTo>
                  <a:close/>
                  <a:moveTo>
                    <a:pt x="54" y="326"/>
                  </a:moveTo>
                  <a:cubicBezTo>
                    <a:pt x="21" y="326"/>
                    <a:pt x="21" y="326"/>
                    <a:pt x="21" y="326"/>
                  </a:cubicBezTo>
                  <a:cubicBezTo>
                    <a:pt x="21" y="228"/>
                    <a:pt x="21" y="228"/>
                    <a:pt x="21" y="228"/>
                  </a:cubicBezTo>
                  <a:cubicBezTo>
                    <a:pt x="54" y="228"/>
                    <a:pt x="54" y="228"/>
                    <a:pt x="54" y="228"/>
                  </a:cubicBezTo>
                  <a:cubicBezTo>
                    <a:pt x="54" y="326"/>
                    <a:pt x="54" y="326"/>
                    <a:pt x="54" y="326"/>
                  </a:cubicBezTo>
                  <a:close/>
                  <a:moveTo>
                    <a:pt x="108" y="326"/>
                  </a:moveTo>
                  <a:cubicBezTo>
                    <a:pt x="76" y="326"/>
                    <a:pt x="76" y="326"/>
                    <a:pt x="76" y="326"/>
                  </a:cubicBezTo>
                  <a:cubicBezTo>
                    <a:pt x="76" y="228"/>
                    <a:pt x="76" y="228"/>
                    <a:pt x="76" y="228"/>
                  </a:cubicBezTo>
                  <a:cubicBezTo>
                    <a:pt x="108" y="228"/>
                    <a:pt x="108" y="228"/>
                    <a:pt x="108" y="228"/>
                  </a:cubicBezTo>
                  <a:lnTo>
                    <a:pt x="108" y="326"/>
                  </a:lnTo>
                  <a:close/>
                  <a:moveTo>
                    <a:pt x="162" y="326"/>
                  </a:moveTo>
                  <a:cubicBezTo>
                    <a:pt x="130" y="326"/>
                    <a:pt x="130" y="326"/>
                    <a:pt x="130" y="326"/>
                  </a:cubicBezTo>
                  <a:cubicBezTo>
                    <a:pt x="130" y="228"/>
                    <a:pt x="130" y="228"/>
                    <a:pt x="130" y="228"/>
                  </a:cubicBezTo>
                  <a:cubicBezTo>
                    <a:pt x="162" y="228"/>
                    <a:pt x="162" y="228"/>
                    <a:pt x="162" y="228"/>
                  </a:cubicBezTo>
                  <a:lnTo>
                    <a:pt x="162" y="326"/>
                  </a:lnTo>
                  <a:close/>
                  <a:moveTo>
                    <a:pt x="217" y="326"/>
                  </a:moveTo>
                  <a:cubicBezTo>
                    <a:pt x="184" y="326"/>
                    <a:pt x="184" y="326"/>
                    <a:pt x="184" y="326"/>
                  </a:cubicBezTo>
                  <a:cubicBezTo>
                    <a:pt x="184" y="228"/>
                    <a:pt x="184" y="228"/>
                    <a:pt x="184" y="228"/>
                  </a:cubicBezTo>
                  <a:cubicBezTo>
                    <a:pt x="217" y="228"/>
                    <a:pt x="217" y="228"/>
                    <a:pt x="217" y="228"/>
                  </a:cubicBezTo>
                  <a:lnTo>
                    <a:pt x="217" y="326"/>
                  </a:lnTo>
                  <a:close/>
                  <a:moveTo>
                    <a:pt x="271" y="326"/>
                  </a:moveTo>
                  <a:cubicBezTo>
                    <a:pt x="238" y="326"/>
                    <a:pt x="238" y="326"/>
                    <a:pt x="238" y="326"/>
                  </a:cubicBezTo>
                  <a:cubicBezTo>
                    <a:pt x="238" y="228"/>
                    <a:pt x="238" y="228"/>
                    <a:pt x="238" y="228"/>
                  </a:cubicBezTo>
                  <a:cubicBezTo>
                    <a:pt x="271" y="228"/>
                    <a:pt x="271" y="228"/>
                    <a:pt x="271" y="228"/>
                  </a:cubicBezTo>
                  <a:lnTo>
                    <a:pt x="271" y="326"/>
                  </a:lnTo>
                  <a:close/>
                  <a:moveTo>
                    <a:pt x="325" y="326"/>
                  </a:moveTo>
                  <a:cubicBezTo>
                    <a:pt x="293" y="326"/>
                    <a:pt x="293" y="326"/>
                    <a:pt x="293" y="326"/>
                  </a:cubicBezTo>
                  <a:cubicBezTo>
                    <a:pt x="293" y="228"/>
                    <a:pt x="293" y="228"/>
                    <a:pt x="293" y="228"/>
                  </a:cubicBezTo>
                  <a:cubicBezTo>
                    <a:pt x="325" y="228"/>
                    <a:pt x="325" y="228"/>
                    <a:pt x="325" y="228"/>
                  </a:cubicBezTo>
                  <a:lnTo>
                    <a:pt x="325" y="32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A12E642-6C06-FA3D-F7EC-CEB680AE38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520214" y="2955214"/>
              <a:ext cx="82323" cy="49386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DAC98D75-4058-1596-361C-7E8499A912AF}"/>
              </a:ext>
            </a:extLst>
          </p:cNvPr>
          <p:cNvSpPr txBox="1">
            <a:spLocks/>
          </p:cNvSpPr>
          <p:nvPr/>
        </p:nvSpPr>
        <p:spPr>
          <a:xfrm>
            <a:off x="9734959" y="2959451"/>
            <a:ext cx="159702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overnanc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Content Placeholder 16">
            <a:extLst>
              <a:ext uri="{FF2B5EF4-FFF2-40B4-BE49-F238E27FC236}">
                <a16:creationId xmlns:a16="http://schemas.microsoft.com/office/drawing/2014/main" id="{DC4B84E5-A0DB-F6C8-21C3-12D444CB1735}"/>
              </a:ext>
            </a:extLst>
          </p:cNvPr>
          <p:cNvSpPr txBox="1">
            <a:spLocks/>
          </p:cNvSpPr>
          <p:nvPr/>
        </p:nvSpPr>
        <p:spPr>
          <a:xfrm>
            <a:off x="9523764" y="3734682"/>
            <a:ext cx="1980488" cy="1661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I powered discovery,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C472022-DA6F-D32F-331D-4203AD224A37}"/>
              </a:ext>
            </a:extLst>
          </p:cNvPr>
          <p:cNvSpPr txBox="1">
            <a:spLocks/>
          </p:cNvSpPr>
          <p:nvPr/>
        </p:nvSpPr>
        <p:spPr>
          <a:xfrm>
            <a:off x="9626696" y="3878394"/>
            <a:ext cx="26098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FFFFFF"/>
                    </a:gs>
                    <a:gs pos="100000">
                      <a:srgbClr val="FFFF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catalogue, and protec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86C3813-CE82-3D08-BA6D-58E3DB5B45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84200" y="4773565"/>
            <a:ext cx="11025188" cy="0"/>
          </a:xfrm>
          <a:prstGeom prst="line">
            <a:avLst/>
          </a:prstGeom>
          <a:noFill/>
          <a:ln w="15875" cap="flat" cmpd="sng" algn="ctr">
            <a:solidFill>
              <a:srgbClr val="0078D4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30" name="Content Placeholder 18">
            <a:extLst>
              <a:ext uri="{FF2B5EF4-FFF2-40B4-BE49-F238E27FC236}">
                <a16:creationId xmlns:a16="http://schemas.microsoft.com/office/drawing/2014/main" id="{89791B9D-6B3A-C445-07F2-11664F1DB76A}"/>
              </a:ext>
            </a:extLst>
          </p:cNvPr>
          <p:cNvSpPr txBox="1">
            <a:spLocks/>
          </p:cNvSpPr>
          <p:nvPr/>
        </p:nvSpPr>
        <p:spPr>
          <a:xfrm>
            <a:off x="4481207" y="4632853"/>
            <a:ext cx="3236976" cy="274320"/>
          </a:xfrm>
          <a:prstGeom prst="rect">
            <a:avLst/>
          </a:prstGeom>
          <a:solidFill>
            <a:srgbClr val="000000"/>
          </a:solidFill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50E6FF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Common Data Model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31" name="Group 30" descr="Microsoft 365 logo">
            <a:extLst>
              <a:ext uri="{FF2B5EF4-FFF2-40B4-BE49-F238E27FC236}">
                <a16:creationId xmlns:a16="http://schemas.microsoft.com/office/drawing/2014/main" id="{9CAC2B13-71E8-A031-AE02-D651A59A9E79}"/>
              </a:ext>
            </a:extLst>
          </p:cNvPr>
          <p:cNvGrpSpPr/>
          <p:nvPr/>
        </p:nvGrpSpPr>
        <p:grpSpPr>
          <a:xfrm>
            <a:off x="584200" y="5122281"/>
            <a:ext cx="3639593" cy="707801"/>
            <a:chOff x="584200" y="5122281"/>
            <a:chExt cx="3639593" cy="70780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68CA05C-D1CD-3EA6-9B30-88B57F43C2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84200" y="5122281"/>
              <a:ext cx="3639593" cy="707801"/>
            </a:xfrm>
            <a:prstGeom prst="rect">
              <a:avLst/>
            </a:prstGeom>
            <a:solidFill>
              <a:srgbClr val="000000">
                <a:lumMod val="85000"/>
                <a:lumOff val="1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 w="3175">
                    <a:noFill/>
                  </a:ln>
                  <a:noFill/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6</a:t>
              </a:r>
            </a:p>
          </p:txBody>
        </p:sp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477508F8-B2D0-17DC-374D-CA8AD9554D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513042" y="5329545"/>
              <a:ext cx="344332" cy="293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id="{5C74D419-F8A7-6E26-9D06-7008AD90DD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857374" y="5329545"/>
              <a:ext cx="1437575" cy="293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 descr="Microsoft Power Platform logo">
            <a:extLst>
              <a:ext uri="{FF2B5EF4-FFF2-40B4-BE49-F238E27FC236}">
                <a16:creationId xmlns:a16="http://schemas.microsoft.com/office/drawing/2014/main" id="{1CAB1FB2-4D7A-2CAF-4C33-9408E81A797E}"/>
              </a:ext>
            </a:extLst>
          </p:cNvPr>
          <p:cNvGrpSpPr/>
          <p:nvPr/>
        </p:nvGrpSpPr>
        <p:grpSpPr>
          <a:xfrm>
            <a:off x="4276204" y="5122281"/>
            <a:ext cx="3639593" cy="707801"/>
            <a:chOff x="4276204" y="5122281"/>
            <a:chExt cx="3639593" cy="70780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A900614-9D66-C3F7-595F-1AB890CE06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276204" y="5122281"/>
              <a:ext cx="3639593" cy="707801"/>
            </a:xfrm>
            <a:prstGeom prst="rect">
              <a:avLst/>
            </a:prstGeom>
            <a:solidFill>
              <a:srgbClr val="000000">
                <a:lumMod val="85000"/>
                <a:lumOff val="1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 w="3175">
                    <a:noFill/>
                  </a:ln>
                  <a:noFill/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6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CD156B7-78A9-2A86-31AD-EEFD05B4A3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4970" t="23366" r="4970" b="23366"/>
            <a:stretch/>
          </p:blipFill>
          <p:spPr>
            <a:xfrm>
              <a:off x="4482844" y="5248012"/>
              <a:ext cx="3226312" cy="456338"/>
            </a:xfrm>
            <a:prstGeom prst="rect">
              <a:avLst/>
            </a:prstGeom>
          </p:spPr>
        </p:pic>
      </p:grpSp>
      <p:grpSp>
        <p:nvGrpSpPr>
          <p:cNvPr id="38" name="Group 37" descr="Microsoft Dynamics 365 logo">
            <a:extLst>
              <a:ext uri="{FF2B5EF4-FFF2-40B4-BE49-F238E27FC236}">
                <a16:creationId xmlns:a16="http://schemas.microsoft.com/office/drawing/2014/main" id="{DBF298EB-14A8-A5A4-0D75-B319A9DA4C5A}"/>
              </a:ext>
            </a:extLst>
          </p:cNvPr>
          <p:cNvGrpSpPr/>
          <p:nvPr/>
        </p:nvGrpSpPr>
        <p:grpSpPr>
          <a:xfrm>
            <a:off x="7972273" y="5122281"/>
            <a:ext cx="3639593" cy="707801"/>
            <a:chOff x="7972273" y="5122281"/>
            <a:chExt cx="3639593" cy="70780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00C5CAA-A73C-B476-0EF8-F4C9FA7637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972273" y="5122281"/>
              <a:ext cx="3639593" cy="707801"/>
            </a:xfrm>
            <a:prstGeom prst="rect">
              <a:avLst/>
            </a:prstGeom>
            <a:solidFill>
              <a:srgbClr val="000000">
                <a:lumMod val="85000"/>
                <a:lumOff val="1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 w="3175">
                    <a:noFill/>
                  </a:ln>
                  <a:noFill/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6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B55CBE5-617B-33E0-0F8B-37B3851A3C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5486" t="16687" r="82003" b="16687"/>
            <a:stretch/>
          </p:blipFill>
          <p:spPr>
            <a:xfrm>
              <a:off x="8277078" y="5191475"/>
              <a:ext cx="425817" cy="569412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BABCF1E4-9F9C-413F-994D-035F16E1C8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7998" t="16687" r="5486" b="16687"/>
            <a:stretch/>
          </p:blipFill>
          <p:spPr>
            <a:xfrm>
              <a:off x="8702895" y="5191475"/>
              <a:ext cx="2604165" cy="569412"/>
            </a:xfrm>
            <a:prstGeom prst="rect">
              <a:avLst/>
            </a:prstGeom>
          </p:spPr>
        </p:pic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BA2C2D7-C1C8-F1AA-C8BD-1C58602DB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84200" y="6178796"/>
            <a:ext cx="11025188" cy="0"/>
          </a:xfrm>
          <a:prstGeom prst="line">
            <a:avLst/>
          </a:prstGeom>
          <a:noFill/>
          <a:ln w="15875" cap="flat" cmpd="sng" algn="ctr">
            <a:solidFill>
              <a:srgbClr val="0078D4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8E6A56E2-36EB-CA13-9D38-A5A0DADD5B89}"/>
              </a:ext>
            </a:extLst>
          </p:cNvPr>
          <p:cNvSpPr txBox="1"/>
          <p:nvPr/>
        </p:nvSpPr>
        <p:spPr>
          <a:xfrm>
            <a:off x="2403996" y="6337438"/>
            <a:ext cx="730859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</a:rPr>
              <a:t>Foundation - Enterprise grade security, high quality, discoverable data</a:t>
            </a:r>
          </a:p>
        </p:txBody>
      </p:sp>
    </p:spTree>
    <p:extLst>
      <p:ext uri="{BB962C8B-B14F-4D97-AF65-F5344CB8AC3E}">
        <p14:creationId xmlns:p14="http://schemas.microsoft.com/office/powerpoint/2010/main" val="12714633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81481E-6 L 0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81481E-6 L 0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8148E-6 L 0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-4.81481E-6 L 0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08333E-7 3.7037E-7 L -2.08333E-7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08333E-7 3.7037E-7 L -2.08333E-7 0.03542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08333E-7 3.7037E-7 L -2.08333E-7 0.0354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  <p:bldP spid="30" grpId="0" animBg="1"/>
      <p:bldP spid="30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83C0A82-CA7D-6D64-C14A-05CA7F25FF9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30454" y="1188049"/>
            <a:ext cx="8226425" cy="5524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491019" fontAlgn="base">
              <a:spcBef>
                <a:spcPct val="0"/>
              </a:spcBef>
              <a:spcAft>
                <a:spcPct val="0"/>
              </a:spcAft>
              <a:defRPr sz="4800">
                <a:gradFill>
                  <a:gsLst>
                    <a:gs pos="1399">
                      <a:srgbClr val="FFFFFF"/>
                    </a:gs>
                    <a:gs pos="12587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Variable Display Semib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910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8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2587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</a:rPr>
              <a:t>Microsoft Intelligent Data Platform</a:t>
            </a:r>
          </a:p>
        </p:txBody>
      </p:sp>
      <p:sp>
        <p:nvSpPr>
          <p:cNvPr id="128" name="!!container">
            <a:extLst>
              <a:ext uri="{FF2B5EF4-FFF2-40B4-BE49-F238E27FC236}">
                <a16:creationId xmlns:a16="http://schemas.microsoft.com/office/drawing/2014/main" id="{966C038B-10E8-4536-BB73-51D908B3F0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290320" y="2534972"/>
            <a:ext cx="9611360" cy="1862667"/>
          </a:xfrm>
          <a:prstGeom prst="roundRect">
            <a:avLst>
              <a:gd name="adj" fmla="val 7791"/>
            </a:avLst>
          </a:prstGeom>
          <a:solidFill>
            <a:srgbClr val="091F2C"/>
          </a:solidFill>
          <a:ln w="12700" cap="flat" cmpd="sng" algn="ctr"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327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4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gradFill>
                <a:gsLst>
                  <a:gs pos="69231">
                    <a:srgbClr val="FFFFFF"/>
                  </a:gs>
                  <a:gs pos="49000">
                    <a:srgbClr val="FFFFFF"/>
                  </a:gs>
                </a:gsLst>
                <a:lin ang="2700000" scaled="0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BF2237-F53C-E181-E314-FA83D5AAE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879427" y="2454205"/>
            <a:ext cx="4433147" cy="494937"/>
          </a:xfrm>
          <a:prstGeom prst="rect">
            <a:avLst/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9013" tIns="119211" rIns="149013" bIns="1192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59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29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A45D12-55B5-8116-0A40-E021FD1C68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12354" y="4397637"/>
            <a:ext cx="8362119" cy="889507"/>
            <a:chOff x="2345032" y="6233222"/>
            <a:chExt cx="10262600" cy="1091668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C935308-04DF-8AED-FCE6-FE01FF191B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345032" y="6233222"/>
              <a:ext cx="0" cy="914400"/>
            </a:xfrm>
            <a:prstGeom prst="line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3822DD2-968F-10A4-5AFD-CE5189F73E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12607632" y="6233222"/>
              <a:ext cx="0" cy="914400"/>
            </a:xfrm>
            <a:prstGeom prst="line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893501C-93D6-1E3F-2C19-E0D22ECEEF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12" idx="2"/>
              <a:endCxn id="14" idx="2"/>
            </p:cNvCxnSpPr>
            <p:nvPr/>
          </p:nvCxnSpPr>
          <p:spPr>
            <a:xfrm>
              <a:off x="2528059" y="7324890"/>
              <a:ext cx="9896546" cy="0"/>
            </a:xfrm>
            <a:prstGeom prst="line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sp>
          <p:nvSpPr>
            <p:cNvPr id="12" name="Arc 11">
              <a:extLst>
                <a:ext uri="{FF2B5EF4-FFF2-40B4-BE49-F238E27FC236}">
                  <a16:creationId xmlns:a16="http://schemas.microsoft.com/office/drawing/2014/main" id="{11A45F0E-939B-5276-9BD4-F59520D9A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6200000" flipH="1">
              <a:off x="2356941" y="6970745"/>
              <a:ext cx="342236" cy="366053"/>
            </a:xfrm>
            <a:prstGeom prst="arc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8568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28556" rtl="0" eaLnBrk="1" fontAlgn="auto" latinLnBrk="0" hangingPunct="1">
                <a:lnSpc>
                  <a:spcPct val="100000"/>
                </a:lnSpc>
                <a:spcBef>
                  <a:spcPts val="17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50855FFD-F781-B839-A2C8-28E0E83AC2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5400000">
              <a:off x="12253487" y="6970745"/>
              <a:ext cx="342236" cy="366053"/>
            </a:xfrm>
            <a:prstGeom prst="arc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8568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28556" rtl="0" eaLnBrk="1" fontAlgn="auto" latinLnBrk="0" hangingPunct="1">
                <a:lnSpc>
                  <a:spcPct val="100000"/>
                </a:lnSpc>
                <a:spcBef>
                  <a:spcPts val="17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41958">
                      <a:srgbClr val="FFFFFF"/>
                    </a:gs>
                    <a:gs pos="63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E979A17-EB67-17D2-58F8-1F8F4D55E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879427" y="2336759"/>
            <a:ext cx="4433147" cy="39125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0" tIns="14901" rIns="0" bIns="37253" rtlCol="0" anchor="ctr" anchorCtr="0">
            <a:spAutoFit/>
          </a:bodyPr>
          <a:lstStyle>
            <a:defPPr>
              <a:defRPr lang="en-US"/>
            </a:defPPr>
            <a:lvl1pPr algn="ctr" defTabSz="987127">
              <a:defRPr sz="1800" b="1"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latin typeface="+mj-lt"/>
              </a:defRPr>
            </a:lvl1pPr>
          </a:lstStyle>
          <a:p>
            <a:pPr marL="0" marR="0" lvl="0" indent="0" algn="ctr" defTabSz="987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6" b="1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Segoe UI Semibold"/>
                <a:ea typeface="+mn-ea"/>
                <a:cs typeface="+mn-cs"/>
              </a:rPr>
              <a:t>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E19245-189B-A071-A3FB-F9EA41477D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879426" y="2336759"/>
            <a:ext cx="1343838" cy="391255"/>
          </a:xfrm>
          <a:prstGeom prst="roundRect">
            <a:avLst>
              <a:gd name="adj" fmla="val 50000"/>
            </a:avLst>
          </a:prstGeom>
          <a:noFill/>
          <a:effectLst/>
        </p:spPr>
        <p:txBody>
          <a:bodyPr wrap="square" lIns="0" tIns="14901" rIns="0" bIns="37253" rtlCol="0" anchor="ctr" anchorCtr="0">
            <a:spAutoFit/>
          </a:bodyPr>
          <a:lstStyle>
            <a:defPPr>
              <a:defRPr lang="en-US"/>
            </a:defPPr>
            <a:lvl1pPr algn="ctr" defTabSz="987127">
              <a:defRPr sz="1800" b="1"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latin typeface="+mj-lt"/>
              </a:defRPr>
            </a:lvl1pPr>
          </a:lstStyle>
          <a:p>
            <a:pPr marL="0" marR="0" lvl="0" indent="0" algn="ctr" defTabSz="987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1" i="0" u="none" strike="noStrike" kern="1200" cap="none" spc="0" normalizeH="0" baseline="0" noProof="0">
              <a:ln>
                <a:noFill/>
              </a:ln>
              <a:gradFill>
                <a:gsLst>
                  <a:gs pos="76224">
                    <a:srgbClr val="FFFFFF"/>
                  </a:gs>
                  <a:gs pos="60839">
                    <a:srgbClr val="FFFFFF"/>
                  </a:gs>
                </a:gsLst>
                <a:lin ang="2700000" scaled="0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BE020B-EC00-3958-43C8-664CD8FAE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049977" y="2334942"/>
            <a:ext cx="1098780" cy="394886"/>
          </a:xfrm>
          <a:prstGeom prst="rect">
            <a:avLst/>
          </a:prstGeom>
          <a:noFill/>
          <a:effectLst/>
        </p:spPr>
        <p:txBody>
          <a:bodyPr wrap="square" lIns="0" tIns="14901" rIns="0" bIns="37253" rtlCol="0" anchor="ctr" anchorCtr="0">
            <a:noAutofit/>
          </a:bodyPr>
          <a:lstStyle>
            <a:defPPr>
              <a:defRPr lang="en-US"/>
            </a:defPPr>
            <a:lvl1pPr algn="ctr" defTabSz="987127">
              <a:defRPr sz="1800" b="1"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latin typeface="+mj-lt"/>
              </a:defRPr>
            </a:lvl1pPr>
          </a:lstStyle>
          <a:p>
            <a:pPr marL="0" marR="0" lvl="0" indent="0" algn="ctr" defTabSz="987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6" b="1" i="0" u="none" strike="noStrike" kern="1200" cap="none" spc="0" normalizeH="0" baseline="0" noProof="0">
                <a:ln>
                  <a:noFill/>
                </a:ln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Databa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BB5C3-9C35-8ED9-8EA1-A85114C4C8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118446" y="2334942"/>
            <a:ext cx="2949070" cy="394886"/>
          </a:xfrm>
          <a:prstGeom prst="rect">
            <a:avLst/>
          </a:prstGeom>
          <a:noFill/>
          <a:effectLst/>
        </p:spPr>
        <p:txBody>
          <a:bodyPr wrap="square" lIns="0" tIns="14901" rIns="0" bIns="37253" rtlCol="0" anchor="ctr" anchorCtr="0">
            <a:noAutofit/>
          </a:bodyPr>
          <a:lstStyle>
            <a:defPPr>
              <a:defRPr lang="en-US"/>
            </a:defPPr>
            <a:lvl1pPr algn="ctr" defTabSz="987127">
              <a:defRPr sz="1800" b="1"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latin typeface="+mj-lt"/>
              </a:defRPr>
            </a:lvl1pPr>
          </a:lstStyle>
          <a:p>
            <a:pPr marL="0" marR="0" lvl="0" indent="0" algn="ctr" defTabSz="987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6" b="1" i="0" u="none" strike="noStrike" kern="1200" cap="none" spc="0" normalizeH="0" baseline="0" noProof="0">
                <a:ln>
                  <a:noFill/>
                </a:ln>
                <a:gradFill>
                  <a:gsLst>
                    <a:gs pos="76224">
                      <a:srgbClr val="FFFFFF"/>
                    </a:gs>
                    <a:gs pos="60839">
                      <a:srgbClr val="FFFFFF"/>
                    </a:gs>
                  </a:gsLst>
                  <a:lin ang="27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•   Analytics   •   AI   •   Governanc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603143C-50F7-FE0F-98FC-1830FCF3C3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1522874" y="3602976"/>
            <a:ext cx="1043094" cy="35112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Azure</a:t>
            </a:r>
            <a:b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</a:b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SQL D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C455416-3B24-0C91-47A4-423D54238A0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2680469" y="3602976"/>
            <a:ext cx="1043094" cy="35112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Azure </a:t>
            </a:r>
            <a:b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</a:b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Cosmos DB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008BF1-C0EE-C746-8433-076AC9DF5E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838062" y="3602976"/>
            <a:ext cx="1043094" cy="35112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Azure for </a:t>
            </a:r>
          </a:p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Po</a:t>
            </a:r>
            <a:r>
              <a:rPr kumimoji="0" lang="en-US" sz="1141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stgreSQL</a:t>
            </a:r>
            <a:endParaRPr kumimoji="0" lang="en-US" sz="1141" b="1" i="0" u="none" strike="noStrike" kern="0" cap="none" spc="0" normalizeH="0" baseline="0" noProof="0">
              <a:ln>
                <a:noFill/>
              </a:ln>
              <a:gradFill>
                <a:gsLst>
                  <a:gs pos="86713">
                    <a:srgbClr val="FFFFFF"/>
                  </a:gs>
                  <a:gs pos="49650">
                    <a:srgbClr val="FFFFFF"/>
                  </a:gs>
                </a:gsLst>
                <a:lin ang="5400000" scaled="1"/>
              </a:gradFill>
              <a:effectLst/>
              <a:uLnTx/>
              <a:uFillTx/>
              <a:latin typeface="Segoe UI Variable Display Semibold" pitchFamily="2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713DBF3-81A8-525D-537E-C53C84C5F93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4995657" y="3602975"/>
            <a:ext cx="1043094" cy="175561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MySQL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BCBABFD-7F5C-7421-2FD8-D4B9CEC107B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153252" y="3602975"/>
            <a:ext cx="1043094" cy="35112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Microsoft Fabric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98B6A973-212F-84F8-1B6C-0495DE92D47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7310846" y="3602976"/>
            <a:ext cx="1043094" cy="3511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</a:rPr>
              <a:t>Azure </a:t>
            </a:r>
            <a:b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</a:rPr>
            </a:b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</a:rPr>
              <a:t>Databrick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2FCE9A9-C95C-7700-52B8-D1F6B05821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468440" y="3602975"/>
            <a:ext cx="1043094" cy="175561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Azure A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D9EC6C2-8FEC-BD0C-5D99-39F419F393B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9626034" y="3602976"/>
            <a:ext cx="1043094" cy="35112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43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Microsoft </a:t>
            </a:r>
            <a:b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</a:br>
            <a:r>
              <a:rPr kumimoji="0" lang="en-US" sz="1141" b="1" i="0" u="none" strike="noStrike" kern="0" cap="none" spc="0" normalizeH="0" baseline="0" noProof="0">
                <a:ln>
                  <a:noFill/>
                </a:ln>
                <a:gradFill>
                  <a:gsLst>
                    <a:gs pos="86713">
                      <a:srgbClr val="FFFFFF"/>
                    </a:gs>
                    <a:gs pos="4965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anose="020B0502040204020203" pitchFamily="34" charset="0"/>
              </a:rPr>
              <a:t>Purview</a:t>
            </a:r>
          </a:p>
        </p:txBody>
      </p:sp>
      <p:pic>
        <p:nvPicPr>
          <p:cNvPr id="23" name="Picture 9" descr="Logo, Snowflake">
            <a:extLst>
              <a:ext uri="{FF2B5EF4-FFF2-40B4-BE49-F238E27FC236}">
                <a16:creationId xmlns:a16="http://schemas.microsoft.com/office/drawing/2014/main" id="{903891D0-01B4-D0F9-E9A2-16C0EFB7E1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486238" y="4734864"/>
            <a:ext cx="1173117" cy="266968"/>
          </a:xfrm>
          <a:prstGeom prst="rect">
            <a:avLst/>
          </a:prstGeom>
        </p:spPr>
      </p:pic>
      <p:pic>
        <p:nvPicPr>
          <p:cNvPr id="4" name="Graphic 3" descr="Logo, MongolDB">
            <a:extLst>
              <a:ext uri="{FF2B5EF4-FFF2-40B4-BE49-F238E27FC236}">
                <a16:creationId xmlns:a16="http://schemas.microsoft.com/office/drawing/2014/main" id="{6BB341FD-6352-19F8-F79C-AB7B51C249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163043" y="4705470"/>
            <a:ext cx="1037701" cy="261309"/>
          </a:xfrm>
          <a:prstGeom prst="rect">
            <a:avLst/>
          </a:prstGeom>
        </p:spPr>
      </p:pic>
      <p:pic>
        <p:nvPicPr>
          <p:cNvPr id="18" name="Picture 17" descr="Oracle logo. ">
            <a:extLst>
              <a:ext uri="{FF2B5EF4-FFF2-40B4-BE49-F238E27FC236}">
                <a16:creationId xmlns:a16="http://schemas.microsoft.com/office/drawing/2014/main" id="{18804886-0CA1-5E1B-B525-516A1F6329D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424" b="32424"/>
          <a:stretch/>
        </p:blipFill>
        <p:spPr>
          <a:xfrm>
            <a:off x="6717685" y="4770410"/>
            <a:ext cx="881553" cy="174305"/>
          </a:xfrm>
          <a:prstGeom prst="rect">
            <a:avLst/>
          </a:prstGeom>
        </p:spPr>
      </p:pic>
      <p:pic>
        <p:nvPicPr>
          <p:cNvPr id="7" name="Graphic 6" descr="Logo, Redis">
            <a:extLst>
              <a:ext uri="{FF2B5EF4-FFF2-40B4-BE49-F238E27FC236}">
                <a16:creationId xmlns:a16="http://schemas.microsoft.com/office/drawing/2014/main" id="{FE1420FC-00EB-9540-7063-0BB3EEF84B1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38857" y="4752346"/>
            <a:ext cx="538788" cy="171043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8A926F33-172A-31D3-F404-FEFF8C79A5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38172" y="3054569"/>
            <a:ext cx="411735" cy="411735"/>
          </a:xfrm>
          <a:prstGeom prst="rect">
            <a:avLst/>
          </a:prstGeom>
        </p:spPr>
      </p:pic>
      <p:pic>
        <p:nvPicPr>
          <p:cNvPr id="53" name="Graphic 52" descr="Logo, Azure for PostgreSQL">
            <a:extLst>
              <a:ext uri="{FF2B5EF4-FFF2-40B4-BE49-F238E27FC236}">
                <a16:creationId xmlns:a16="http://schemas.microsoft.com/office/drawing/2014/main" id="{AE9B7D51-151E-D6E1-5947-CE8BDB2DB5B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69617" y="3065557"/>
            <a:ext cx="379984" cy="379984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ABF2CE2E-44BB-E815-8081-1AC1CECC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7736" y="3050090"/>
            <a:ext cx="408558" cy="41092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252F41CB-375F-7FF5-9690-9A15E9A646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55521" y="3065557"/>
            <a:ext cx="377801" cy="379984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5C2B7F42-001E-0C7E-9CCF-D5758E873E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97290" y="3061740"/>
            <a:ext cx="385395" cy="387621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97A81BCC-34B9-C0FF-58E6-EED6032791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956879" y="3081799"/>
            <a:ext cx="381406" cy="34750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3DBA30C4-9C74-2497-63B4-E5F2BE3BD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501081" y="3076012"/>
            <a:ext cx="347435" cy="347435"/>
          </a:xfrm>
          <a:prstGeom prst="rect">
            <a:avLst/>
          </a:prstGeom>
        </p:spPr>
      </p:pic>
      <p:pic>
        <p:nvPicPr>
          <p:cNvPr id="79" name="Graphic 78" descr="Logo, MySQL">
            <a:extLst>
              <a:ext uri="{FF2B5EF4-FFF2-40B4-BE49-F238E27FC236}">
                <a16:creationId xmlns:a16="http://schemas.microsoft.com/office/drawing/2014/main" id="{3F65722F-5360-1DC7-894B-4178F54B7B0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327212" y="3065557"/>
            <a:ext cx="379984" cy="37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181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2.44949E-6 L 0 0.03567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5.78704E-8 2.44949E-6 L -5.78704E-8 0.03567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6255E-6 -1.85185E-6 L -2.26255E-6 0.03565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41473E-6 -1.85185E-6 L -4.41473E-6 0.03565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44" dur="7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54" dur="7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59" dur="7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64" dur="7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69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74" dur="7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79" dur="700" spd="-100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84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89" dur="7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94" dur="70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99" dur="70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104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6166E-6 -2.96296E-6 L 3.06166E-6 0.03565 " pathEditMode="relative" rAng="0" ptsTypes="AA">
                                      <p:cBhvr>
                                        <p:cTn id="10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31593E-7 7.40741E-7 L -1.31593E-7 -0.04306 " pathEditMode="relative" rAng="0" ptsTypes="AA">
                                      <p:cBhvr>
                                        <p:cTn id="114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53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2251E-8 1.11111E-6 L -7.32251E-8 -0.04306 " pathEditMode="relative" rAng="0" ptsTypes="AA">
                                      <p:cBhvr>
                                        <p:cTn id="119" dur="7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53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2255E-6 -1.85185E-6 L 2.52255E-6 -0.04305 " pathEditMode="relative" rAng="0" ptsTypes="AA">
                                      <p:cBhvr>
                                        <p:cTn id="124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53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3513E-7 4.44444E-6 L -3.03513E-7 -0.04306 " pathEditMode="relative" rAng="0" ptsTypes="AA">
                                      <p:cBhvr>
                                        <p:cTn id="129" dur="7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53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57391E-6 -3.33333E-6 L 4.57391E-6 -0.04305 " pathEditMode="relative" rAng="0" ptsTypes="AA">
                                      <p:cBhvr>
                                        <p:cTn id="134" dur="7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53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78472E-6 4.01515E-6 L -3.78472E-6 0.03567 " pathEditMode="relative" rAng="0" ptsTypes="AA">
                                      <p:cBhvr>
                                        <p:cTn id="139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8" grpId="0" animBg="1"/>
      <p:bldP spid="128" grpId="1" animBg="1"/>
      <p:bldP spid="76" grpId="0" animBg="1"/>
      <p:bldP spid="76" grpId="1" animBg="1"/>
      <p:bldP spid="3" grpId="0" animBg="1"/>
      <p:bldP spid="3" grpId="1" animBg="1"/>
      <p:bldP spid="6" grpId="0" animBg="1"/>
      <p:bldP spid="6" grpId="1" animBg="1"/>
      <p:bldP spid="8" grpId="0" animBg="1"/>
      <p:bldP spid="8" grpId="1" animBg="1"/>
      <p:bldP spid="51" grpId="0"/>
      <p:bldP spid="51" grpId="1"/>
      <p:bldP spid="46" grpId="0"/>
      <p:bldP spid="46" grpId="1"/>
      <p:bldP spid="54" grpId="0"/>
      <p:bldP spid="54" grpId="1"/>
      <p:bldP spid="78" grpId="0"/>
      <p:bldP spid="78" grpId="1"/>
      <p:bldP spid="52" grpId="0"/>
      <p:bldP spid="52" grpId="1"/>
      <p:bldP spid="73" grpId="0"/>
      <p:bldP spid="73" grpId="1"/>
      <p:bldP spid="24" grpId="0"/>
      <p:bldP spid="24" grpId="1"/>
      <p:bldP spid="49" grpId="0"/>
      <p:bldP spid="49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EB9F21E-8F70-3926-AE15-B89CED33C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919"/>
            <a:ext cx="12192000" cy="68441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F965572-2D87-C20C-D72A-58FC137037EE}"/>
              </a:ext>
            </a:extLst>
          </p:cNvPr>
          <p:cNvSpPr txBox="1"/>
          <p:nvPr/>
        </p:nvSpPr>
        <p:spPr>
          <a:xfrm>
            <a:off x="6281530" y="2973788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7852BD-740A-A6A8-19F8-1C09508F9753}"/>
              </a:ext>
            </a:extLst>
          </p:cNvPr>
          <p:cNvSpPr txBox="1"/>
          <p:nvPr/>
        </p:nvSpPr>
        <p:spPr>
          <a:xfrm>
            <a:off x="262392" y="3307744"/>
            <a:ext cx="1160891" cy="369332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ructured Data (on Prem/Clou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9120A4-7F43-1C42-DEBB-2C6A022DF133}"/>
              </a:ext>
            </a:extLst>
          </p:cNvPr>
          <p:cNvSpPr txBox="1"/>
          <p:nvPr/>
        </p:nvSpPr>
        <p:spPr>
          <a:xfrm>
            <a:off x="200479" y="4695791"/>
            <a:ext cx="1160891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structured Data (on Prem/Cloud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023E10-73FE-BC1C-B493-D5E0C966FE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4025" y="1648108"/>
            <a:ext cx="561975" cy="542925"/>
          </a:xfrm>
          <a:prstGeom prst="rect">
            <a:avLst/>
          </a:prstGeom>
        </p:spPr>
      </p:pic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7B2BBF1E-7AEA-4DC0-5C4A-4730D4062648}"/>
              </a:ext>
            </a:extLst>
          </p:cNvPr>
          <p:cNvSpPr/>
          <p:nvPr/>
        </p:nvSpPr>
        <p:spPr bwMode="auto">
          <a:xfrm>
            <a:off x="262392" y="146304"/>
            <a:ext cx="8625576" cy="542925"/>
          </a:xfrm>
          <a:prstGeom prst="round2Diag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9F7BA76-66AE-D531-1317-A3E97306E58A}"/>
              </a:ext>
            </a:extLst>
          </p:cNvPr>
          <p:cNvSpPr txBox="1">
            <a:spLocks/>
          </p:cNvSpPr>
          <p:nvPr/>
        </p:nvSpPr>
        <p:spPr>
          <a:xfrm>
            <a:off x="586740" y="280902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5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raditional PAAS: The typical flow</a:t>
            </a:r>
            <a:endParaRPr kumimoji="0" lang="en-US" sz="3600" b="0" i="0" u="none" strike="noStrike" kern="1200" cap="none" spc="-50" normalizeH="0" baseline="0" noProof="0">
              <a:ln w="3175"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414586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itle 85">
            <a:extLst>
              <a:ext uri="{FF2B5EF4-FFF2-40B4-BE49-F238E27FC236}">
                <a16:creationId xmlns:a16="http://schemas.microsoft.com/office/drawing/2014/main" id="{718C1EDB-AD5A-9983-904E-B97903BA6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285855"/>
            <a:ext cx="11029949" cy="549275"/>
          </a:xfrm>
        </p:spPr>
        <p:txBody>
          <a:bodyPr/>
          <a:lstStyle/>
          <a:p>
            <a:pPr algn="ctr"/>
            <a:r>
              <a:rPr lang="en-US" noProof="0"/>
              <a:t>Microsoft Fabric  </a:t>
            </a:r>
            <a:endParaRPr lang="en-US"/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EEF865A5-B9B3-AB5A-BFAC-46A64C41C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428" y="221332"/>
            <a:ext cx="655661" cy="655658"/>
          </a:xfrm>
          <a:prstGeom prst="rect">
            <a:avLst/>
          </a:prstGeom>
          <a:effectLst/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F454308-C217-ED14-7C70-8230489AE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1025" y="1563822"/>
            <a:ext cx="11029950" cy="4899253"/>
            <a:chOff x="581025" y="1407886"/>
            <a:chExt cx="11029950" cy="4899253"/>
          </a:xfrm>
        </p:grpSpPr>
        <p:sp>
          <p:nvSpPr>
            <p:cNvPr id="6" name="Rectangle: Top Corners Rounded 125">
              <a:extLst>
                <a:ext uri="{FF2B5EF4-FFF2-40B4-BE49-F238E27FC236}">
                  <a16:creationId xmlns:a16="http://schemas.microsoft.com/office/drawing/2014/main" id="{6EF55D15-5A0C-80A1-B914-0CA3197B64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81025" y="1407886"/>
              <a:ext cx="11029950" cy="4899253"/>
            </a:xfrm>
            <a:prstGeom prst="roundRect">
              <a:avLst>
                <a:gd name="adj" fmla="val 5046"/>
              </a:avLst>
            </a:prstGeom>
            <a:ln w="19050" cap="rnd">
              <a:solidFill>
                <a:srgbClr val="C0C0C0"/>
              </a:solidFill>
              <a:headEnd type="none" w="sm" len="sm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10631" tIns="88505" rIns="110631" bIns="885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5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5287">
                      <a:srgbClr val="FFFFFF"/>
                    </a:gs>
                    <a:gs pos="45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445BA8B4-5B11-3641-8E2D-8BB6981971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35386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" name="Rounded Rectangle 10">
              <a:extLst>
                <a:ext uri="{FF2B5EF4-FFF2-40B4-BE49-F238E27FC236}">
                  <a16:creationId xmlns:a16="http://schemas.microsoft.com/office/drawing/2014/main" id="{FFF8ECAA-52D9-64F4-C27D-7F94D4E13D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2283258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9" name="Rounded Rectangle 14">
              <a:extLst>
                <a:ext uri="{FF2B5EF4-FFF2-40B4-BE49-F238E27FC236}">
                  <a16:creationId xmlns:a16="http://schemas.microsoft.com/office/drawing/2014/main" id="{2E0D452F-A858-62DD-7BFD-4CB9792BF5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831130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6" name="Rounded Rectangle 18">
              <a:extLst>
                <a:ext uri="{FF2B5EF4-FFF2-40B4-BE49-F238E27FC236}">
                  <a16:creationId xmlns:a16="http://schemas.microsoft.com/office/drawing/2014/main" id="{B88F65EF-F8AC-F0AA-51DA-8D28580274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379002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7" name="Rounded Rectangle 22">
              <a:extLst>
                <a:ext uri="{FF2B5EF4-FFF2-40B4-BE49-F238E27FC236}">
                  <a16:creationId xmlns:a16="http://schemas.microsoft.com/office/drawing/2014/main" id="{27E468D2-BE3E-298A-60BC-A594B4B538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926874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 w="28575"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8" name="Rounded Rectangle 26">
              <a:extLst>
                <a:ext uri="{FF2B5EF4-FFF2-40B4-BE49-F238E27FC236}">
                  <a16:creationId xmlns:a16="http://schemas.microsoft.com/office/drawing/2014/main" id="{2EC76C7A-2792-F26D-2509-9C1B10845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8474746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9" name="Rounded Rectangle 39">
              <a:extLst>
                <a:ext uri="{FF2B5EF4-FFF2-40B4-BE49-F238E27FC236}">
                  <a16:creationId xmlns:a16="http://schemas.microsoft.com/office/drawing/2014/main" id="{70902259-9282-7EA0-8DC1-18AED76244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22621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 w="12700">
              <a:noFill/>
              <a:prstDash val="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30" name="Rounded Rectangle 32">
              <a:extLst>
                <a:ext uri="{FF2B5EF4-FFF2-40B4-BE49-F238E27FC236}">
                  <a16:creationId xmlns:a16="http://schemas.microsoft.com/office/drawing/2014/main" id="{9CC78203-7880-34B8-E594-34CFE1E4BA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35386" y="4332181"/>
              <a:ext cx="10721228" cy="838276"/>
            </a:xfrm>
            <a:prstGeom prst="roundRect">
              <a:avLst>
                <a:gd name="adj" fmla="val 13589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2286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8DC65A5A-F6C9-6E69-96B0-4F4E2B3524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35386" y="3349734"/>
              <a:ext cx="10721228" cy="838276"/>
            </a:xfrm>
            <a:prstGeom prst="roundRect">
              <a:avLst>
                <a:gd name="adj" fmla="val 13589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2286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32" name="Rounded Rectangle 32">
              <a:extLst>
                <a:ext uri="{FF2B5EF4-FFF2-40B4-BE49-F238E27FC236}">
                  <a16:creationId xmlns:a16="http://schemas.microsoft.com/office/drawing/2014/main" id="{1792C7AB-9E45-8D67-8670-3A12F1663D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35386" y="5314627"/>
              <a:ext cx="10721228" cy="838276"/>
            </a:xfrm>
            <a:prstGeom prst="roundRect">
              <a:avLst>
                <a:gd name="adj" fmla="val 13589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2286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</a:endParaRP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AEC262CE-7DB1-5ADC-F5B3-A45244AF5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269008" y="2016109"/>
            <a:ext cx="480812" cy="458138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9934CEE-8166-7D25-CCE9-498AAC661870}"/>
              </a:ext>
            </a:extLst>
          </p:cNvPr>
          <p:cNvSpPr txBox="1">
            <a:spLocks/>
          </p:cNvSpPr>
          <p:nvPr/>
        </p:nvSpPr>
        <p:spPr>
          <a:xfrm>
            <a:off x="980481" y="2697003"/>
            <a:ext cx="93903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Data Factory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15CAAE4-D4A7-D91F-C8B1-47D009DDF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784423" y="2016109"/>
            <a:ext cx="480812" cy="458138"/>
          </a:xfrm>
          <a:prstGeom prst="rect">
            <a:avLst/>
          </a:prstGeom>
        </p:spPr>
      </p:pic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4FF7F23-043D-A665-8C78-7227103BCC9F}"/>
              </a:ext>
            </a:extLst>
          </p:cNvPr>
          <p:cNvSpPr txBox="1">
            <a:spLocks/>
          </p:cNvSpPr>
          <p:nvPr/>
        </p:nvSpPr>
        <p:spPr>
          <a:xfrm>
            <a:off x="2507031" y="2697003"/>
            <a:ext cx="9832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Data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Engineering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FD9C27CD-0733-E3F6-F370-2A4A2EAD34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29"/>
          <a:stretch/>
        </p:blipFill>
        <p:spPr>
          <a:xfrm>
            <a:off x="4313332" y="2016110"/>
            <a:ext cx="469589" cy="458137"/>
          </a:xfrm>
          <a:prstGeom prst="rect">
            <a:avLst/>
          </a:prstGeom>
        </p:spPr>
      </p:pic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F0A8808-E474-57F1-CC5D-D73073472598}"/>
              </a:ext>
            </a:extLst>
          </p:cNvPr>
          <p:cNvSpPr txBox="1">
            <a:spLocks/>
          </p:cNvSpPr>
          <p:nvPr/>
        </p:nvSpPr>
        <p:spPr>
          <a:xfrm>
            <a:off x="4062119" y="2697003"/>
            <a:ext cx="97042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Data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Warehous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F43992A-4AC8-F4F0-320D-E80A6A1BA0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819976" y="2016109"/>
            <a:ext cx="480812" cy="458138"/>
          </a:xfrm>
          <a:prstGeom prst="rect">
            <a:avLst/>
          </a:prstGeom>
        </p:spPr>
      </p:pic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9D11522-8FB5-E44F-5A6C-6C0F21C03DA6}"/>
              </a:ext>
            </a:extLst>
          </p:cNvPr>
          <p:cNvSpPr txBox="1">
            <a:spLocks/>
          </p:cNvSpPr>
          <p:nvPr/>
        </p:nvSpPr>
        <p:spPr>
          <a:xfrm>
            <a:off x="5740867" y="2697003"/>
            <a:ext cx="71026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Data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Scienc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F6644B9-D372-6622-9FFC-05582E0BD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344073" y="2016109"/>
            <a:ext cx="480812" cy="458138"/>
          </a:xfrm>
          <a:prstGeom prst="rect">
            <a:avLst/>
          </a:prstGeom>
        </p:spPr>
      </p:pic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8447528-DF2E-73A3-DAB7-77326F0F3C98}"/>
              </a:ext>
            </a:extLst>
          </p:cNvPr>
          <p:cNvSpPr txBox="1">
            <a:spLocks/>
          </p:cNvSpPr>
          <p:nvPr/>
        </p:nvSpPr>
        <p:spPr>
          <a:xfrm>
            <a:off x="7140064" y="2697003"/>
            <a:ext cx="10092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Real-Time Analytics</a:t>
            </a:r>
          </a:p>
        </p:txBody>
      </p:sp>
      <p:grpSp>
        <p:nvGrpSpPr>
          <p:cNvPr id="56" name="Group 55" descr="Real-Time Intelligence">
            <a:extLst>
              <a:ext uri="{FF2B5EF4-FFF2-40B4-BE49-F238E27FC236}">
                <a16:creationId xmlns:a16="http://schemas.microsoft.com/office/drawing/2014/main" id="{6B4339D6-5C34-33ED-CDCC-359A8D396C94}"/>
              </a:ext>
            </a:extLst>
          </p:cNvPr>
          <p:cNvGrpSpPr/>
          <p:nvPr/>
        </p:nvGrpSpPr>
        <p:grpSpPr>
          <a:xfrm>
            <a:off x="6926874" y="1718058"/>
            <a:ext cx="1433993" cy="1643441"/>
            <a:chOff x="6926874" y="1562122"/>
            <a:chExt cx="1433993" cy="1643441"/>
          </a:xfrm>
        </p:grpSpPr>
        <p:sp>
          <p:nvSpPr>
            <p:cNvPr id="57" name="Rounded Rectangle 22">
              <a:extLst>
                <a:ext uri="{FF2B5EF4-FFF2-40B4-BE49-F238E27FC236}">
                  <a16:creationId xmlns:a16="http://schemas.microsoft.com/office/drawing/2014/main" id="{53DC074F-7150-7682-630A-8FE7490E6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926874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 w="28575">
              <a:noFill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9997505C-7556-5853-17BF-CD72ACB91A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344073" y="1860173"/>
              <a:ext cx="480812" cy="458138"/>
            </a:xfrm>
            <a:prstGeom prst="rect">
              <a:avLst/>
            </a:prstGeom>
          </p:spPr>
        </p:pic>
        <p:sp>
          <p:nvSpPr>
            <p:cNvPr id="60" name="Text Placeholder 2">
              <a:extLst>
                <a:ext uri="{FF2B5EF4-FFF2-40B4-BE49-F238E27FC236}">
                  <a16:creationId xmlns:a16="http://schemas.microsoft.com/office/drawing/2014/main" id="{CC2BF209-642C-EB6B-C2D6-7929E3E7B8DD}"/>
                </a:ext>
              </a:extLst>
            </p:cNvPr>
            <p:cNvSpPr txBox="1">
              <a:spLocks/>
            </p:cNvSpPr>
            <p:nvPr/>
          </p:nvSpPr>
          <p:spPr>
            <a:xfrm>
              <a:off x="7140064" y="2541067"/>
              <a:ext cx="100920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 w="3175">
                    <a:noFill/>
                  </a:ln>
                  <a:gradFill flip="none" rotWithShape="1">
                    <a:gsLst>
                      <a:gs pos="25000">
                        <a:srgbClr val="D59ED7"/>
                      </a:gs>
                      <a:gs pos="74000">
                        <a:srgbClr val="8DC8E8"/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Segoe Sans Display"/>
                  <a:ea typeface="+mn-ea"/>
                  <a:cs typeface="Segoe UI" panose="020B0502040204020203" pitchFamily="34" charset="0"/>
                </a:rPr>
                <a:t>Real-Time Intelligence</a:t>
              </a:r>
            </a:p>
          </p:txBody>
        </p:sp>
      </p:grpSp>
      <p:pic>
        <p:nvPicPr>
          <p:cNvPr id="36" name="Graphic 35">
            <a:extLst>
              <a:ext uri="{FF2B5EF4-FFF2-40B4-BE49-F238E27FC236}">
                <a16:creationId xmlns:a16="http://schemas.microsoft.com/office/drawing/2014/main" id="{58F81A0C-3FB4-3BD5-E9E8-922F3CEA5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63399" y="2016109"/>
            <a:ext cx="480812" cy="458138"/>
          </a:xfrm>
          <a:prstGeom prst="rect">
            <a:avLst/>
          </a:prstGeom>
        </p:spPr>
      </p:pic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504DC7E-218B-9C6B-13EB-4136DF69C176}"/>
              </a:ext>
            </a:extLst>
          </p:cNvPr>
          <p:cNvSpPr txBox="1">
            <a:spLocks/>
          </p:cNvSpPr>
          <p:nvPr/>
        </p:nvSpPr>
        <p:spPr>
          <a:xfrm>
            <a:off x="8689329" y="2697003"/>
            <a:ext cx="100801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Power BI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D28BD970-BBF1-23EB-BB3B-2DFE3A4E0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99212" y="2016578"/>
            <a:ext cx="457200" cy="457200"/>
          </a:xfrm>
          <a:prstGeom prst="rect">
            <a:avLst/>
          </a:prstGeom>
        </p:spPr>
      </p:pic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AF7E51E-1E1E-E023-6E3D-BAFE23A0C8D4}"/>
              </a:ext>
            </a:extLst>
          </p:cNvPr>
          <p:cNvSpPr txBox="1">
            <a:spLocks/>
          </p:cNvSpPr>
          <p:nvPr/>
        </p:nvSpPr>
        <p:spPr>
          <a:xfrm>
            <a:off x="10222395" y="2697003"/>
            <a:ext cx="103921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Data Activator</a:t>
            </a:r>
          </a:p>
        </p:txBody>
      </p:sp>
      <p:grpSp>
        <p:nvGrpSpPr>
          <p:cNvPr id="62" name="Group 61" descr="Partner &amp; Industry workloads">
            <a:extLst>
              <a:ext uri="{FF2B5EF4-FFF2-40B4-BE49-F238E27FC236}">
                <a16:creationId xmlns:a16="http://schemas.microsoft.com/office/drawing/2014/main" id="{2274C9C4-EDD8-21A9-0755-DC061188AD78}"/>
              </a:ext>
            </a:extLst>
          </p:cNvPr>
          <p:cNvGrpSpPr/>
          <p:nvPr/>
        </p:nvGrpSpPr>
        <p:grpSpPr>
          <a:xfrm>
            <a:off x="10022621" y="1718058"/>
            <a:ext cx="1433993" cy="1643441"/>
            <a:chOff x="12727721" y="1562122"/>
            <a:chExt cx="1433993" cy="1643441"/>
          </a:xfrm>
        </p:grpSpPr>
        <p:sp>
          <p:nvSpPr>
            <p:cNvPr id="63" name="Rounded Rectangle 39">
              <a:extLst>
                <a:ext uri="{FF2B5EF4-FFF2-40B4-BE49-F238E27FC236}">
                  <a16:creationId xmlns:a16="http://schemas.microsoft.com/office/drawing/2014/main" id="{DE999E15-0F89-0621-E717-5A18461FE3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 bwMode="auto">
            <a:xfrm>
              <a:off x="12727721" y="1562122"/>
              <a:ext cx="1433993" cy="1643441"/>
            </a:xfrm>
            <a:prstGeom prst="roundRect">
              <a:avLst>
                <a:gd name="adj" fmla="val 8056"/>
              </a:avLst>
            </a:prstGeom>
            <a:solidFill>
              <a:srgbClr val="FFFFFF"/>
            </a:solidFill>
            <a:ln w="12700">
              <a:solidFill>
                <a:schemeClr val="bg1">
                  <a:lumMod val="50000"/>
                  <a:lumOff val="50000"/>
                </a:schemeClr>
              </a:solidFill>
              <a:prstDash val="dash"/>
              <a:headEnd type="none" w="med" len="med"/>
              <a:tailEnd type="none" w="med" len="med"/>
            </a:ln>
            <a:effectLst>
              <a:outerShdw blurRad="127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9728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31A2B93D-5219-425D-72C5-70BE76938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215883" y="1860173"/>
              <a:ext cx="457669" cy="457669"/>
            </a:xfrm>
            <a:prstGeom prst="rect">
              <a:avLst/>
            </a:prstGeom>
          </p:spPr>
        </p:pic>
        <p:sp>
          <p:nvSpPr>
            <p:cNvPr id="65" name="Text Placeholder 2">
              <a:extLst>
                <a:ext uri="{FF2B5EF4-FFF2-40B4-BE49-F238E27FC236}">
                  <a16:creationId xmlns:a16="http://schemas.microsoft.com/office/drawing/2014/main" id="{D1C59733-94A8-B592-3762-0EA4CD3CCE54}"/>
                </a:ext>
              </a:extLst>
            </p:cNvPr>
            <p:cNvSpPr txBox="1">
              <a:spLocks/>
            </p:cNvSpPr>
            <p:nvPr/>
          </p:nvSpPr>
          <p:spPr>
            <a:xfrm>
              <a:off x="12925109" y="2439604"/>
              <a:ext cx="1039216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Partner &amp; Industry workloads</a:t>
              </a: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316D63D1-D7E7-91AB-38AD-11560A5B6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" t="8808" r="3836" b="10260"/>
          <a:stretch/>
        </p:blipFill>
        <p:spPr>
          <a:xfrm>
            <a:off x="4802070" y="3707855"/>
            <a:ext cx="495556" cy="433908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50B06AD-FC19-212A-18D5-14971D0F7935}"/>
              </a:ext>
            </a:extLst>
          </p:cNvPr>
          <p:cNvSpPr txBox="1">
            <a:spLocks/>
          </p:cNvSpPr>
          <p:nvPr/>
        </p:nvSpPr>
        <p:spPr>
          <a:xfrm>
            <a:off x="5442384" y="3786309"/>
            <a:ext cx="171348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Copilot in Fabric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105B6974-9094-EBBC-05AD-1AF9BD8533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/>
        </p:blipFill>
        <p:spPr>
          <a:xfrm>
            <a:off x="4809943" y="4680234"/>
            <a:ext cx="479810" cy="480747"/>
          </a:xfrm>
          <a:prstGeom prst="rect">
            <a:avLst/>
          </a:prstGeom>
        </p:spPr>
      </p:pic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43A71AD-218C-611C-6C14-0E303B7EC8E1}"/>
              </a:ext>
            </a:extLst>
          </p:cNvPr>
          <p:cNvSpPr txBox="1">
            <a:spLocks/>
          </p:cNvSpPr>
          <p:nvPr/>
        </p:nvSpPr>
        <p:spPr>
          <a:xfrm>
            <a:off x="5442384" y="4768756"/>
            <a:ext cx="904030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OneLake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7EE08FBF-4248-C8F6-BCD4-08FA9922C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931" t="6530" r="1931" b="6084"/>
          <a:stretch/>
        </p:blipFill>
        <p:spPr>
          <a:xfrm>
            <a:off x="4802452" y="5664825"/>
            <a:ext cx="494792" cy="449752"/>
          </a:xfrm>
          <a:prstGeom prst="rect">
            <a:avLst/>
          </a:prstGeom>
        </p:spPr>
      </p:pic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C5D6F61-A0C5-9A33-5FAC-82DAD4D00FBC}"/>
              </a:ext>
            </a:extLst>
          </p:cNvPr>
          <p:cNvSpPr txBox="1">
            <a:spLocks/>
          </p:cNvSpPr>
          <p:nvPr/>
        </p:nvSpPr>
        <p:spPr>
          <a:xfrm>
            <a:off x="5442384" y="5751202"/>
            <a:ext cx="1919756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Microsoft Pu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745BDC-4498-FC73-C201-32BB9E29F7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12571" y="6465455"/>
            <a:ext cx="399288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356FBF-028C-F74E-A7B4-9B8ED246DD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25B61">
                    <a:tint val="75000"/>
                  </a:srgbClr>
                </a:solidFill>
                <a:effectLst/>
                <a:uLnTx/>
                <a:uFillTx/>
                <a:latin typeface="Segoe Sans Small Semilight" pitchFamily="2" charset="0"/>
                <a:ea typeface="+mn-ea"/>
                <a:cs typeface="Segoe Sans Small Semilight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25B61">
                  <a:tint val="75000"/>
                </a:srgbClr>
              </a:solidFill>
              <a:effectLst/>
              <a:uLnTx/>
              <a:uFillTx/>
              <a:latin typeface="Segoe Sans Small Semilight" pitchFamily="2" charset="0"/>
              <a:ea typeface="+mn-ea"/>
              <a:cs typeface="Segoe Sans Small Semilight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25224E-DA7C-0E62-C942-6F020DE38B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11859" y="6465455"/>
            <a:ext cx="2078736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25B61">
                    <a:tint val="75000"/>
                  </a:srgbClr>
                </a:solidFill>
                <a:effectLst/>
                <a:uLnTx/>
                <a:uFillTx/>
                <a:latin typeface="Segoe Sans Small Semilight" pitchFamily="2" charset="0"/>
                <a:ea typeface="+mn-ea"/>
                <a:cs typeface="Segoe Sans Small Semilight" pitchFamily="2" charset="0"/>
              </a:rPr>
              <a:t>Microsoft Fabri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624D9A-D92D-7077-35DF-A45339F2F6C0}"/>
              </a:ext>
            </a:extLst>
          </p:cNvPr>
          <p:cNvSpPr txBox="1"/>
          <p:nvPr/>
        </p:nvSpPr>
        <p:spPr>
          <a:xfrm>
            <a:off x="2860290" y="940008"/>
            <a:ext cx="64839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+mn-cs"/>
              </a:rPr>
              <a:t>Saa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+mn-cs"/>
              </a:rPr>
              <a:t> offer: The data platform for the era of AI</a:t>
            </a:r>
          </a:p>
        </p:txBody>
      </p:sp>
    </p:spTree>
    <p:extLst>
      <p:ext uri="{BB962C8B-B14F-4D97-AF65-F5344CB8AC3E}">
        <p14:creationId xmlns:p14="http://schemas.microsoft.com/office/powerpoint/2010/main" val="3946432578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7D296-1CFB-5336-EADA-DFDDD0BC5B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54AC5A-12B5-EFB2-A619-1800CA213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431" y="813375"/>
            <a:ext cx="11427125" cy="507072"/>
          </a:xfrm>
        </p:spPr>
        <p:txBody>
          <a:bodyPr/>
          <a:lstStyle/>
          <a:p>
            <a:r>
              <a:rPr lang="en-US">
                <a:latin typeface="Segoe Sans Text" pitchFamily="2" charset="0"/>
                <a:cs typeface="Segoe Sans Text" pitchFamily="2" charset="0"/>
              </a:rPr>
              <a:t>Bring in data from anyw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81F324-156F-F628-18D2-254A97F238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53412" y="2311954"/>
            <a:ext cx="2538412" cy="249299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Mirroring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FD1E876B-782D-B5E3-5343-906A0A2581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1431" y="3862375"/>
            <a:ext cx="839659" cy="297990"/>
          </a:xfrm>
        </p:spPr>
        <p:txBody>
          <a:bodyPr/>
          <a:lstStyle/>
          <a:p>
            <a:r>
              <a:rPr lang="en-US"/>
              <a:t>Azure </a:t>
            </a:r>
            <a:br>
              <a:rPr lang="en-US"/>
            </a:br>
            <a:r>
              <a:rPr lang="en-US"/>
              <a:t>COSMOS DB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9A95AD1-FCF1-176A-8CCA-5787E50420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65878" y="3862375"/>
            <a:ext cx="839659" cy="297990"/>
          </a:xfrm>
        </p:spPr>
        <p:txBody>
          <a:bodyPr/>
          <a:lstStyle/>
          <a:p>
            <a:r>
              <a:rPr lang="en-US"/>
              <a:t>Azure </a:t>
            </a:r>
            <a:br>
              <a:rPr lang="en-US"/>
            </a:br>
            <a:r>
              <a:rPr lang="en-US"/>
              <a:t>SQL DB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30727626-149F-106F-9F2E-5A50B75454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11494" y="3862375"/>
            <a:ext cx="839659" cy="297990"/>
          </a:xfrm>
        </p:spPr>
        <p:txBody>
          <a:bodyPr/>
          <a:lstStyle/>
          <a:p>
            <a:r>
              <a:rPr lang="en-US"/>
              <a:t>Mongo DB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28A4EA8-98FA-F18C-B3E0-FE5A4D9E0B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75941" y="3862375"/>
            <a:ext cx="839659" cy="297990"/>
          </a:xfrm>
        </p:spPr>
        <p:txBody>
          <a:bodyPr/>
          <a:lstStyle/>
          <a:p>
            <a:pPr lvl="0"/>
            <a:r>
              <a:rPr lang="en-US"/>
              <a:t>More coming soon…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EAAD819A-AD6C-00BA-6C07-52BE717542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94" y="4479683"/>
            <a:ext cx="3091705" cy="569645"/>
          </a:xfrm>
        </p:spPr>
        <p:txBody>
          <a:bodyPr/>
          <a:lstStyle/>
          <a:p>
            <a:r>
              <a:rPr lang="en-US"/>
              <a:t>Add or manage data from your cloud data warehouses and databas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EFAA32F-FE0F-4D3A-16FB-7E61996F8A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7125" y="934820"/>
            <a:ext cx="3739083" cy="249299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Fabric compute engin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F3F67EC9-D558-B8D0-0242-2678342528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48468" y="1302824"/>
            <a:ext cx="2396396" cy="221599"/>
          </a:xfrm>
        </p:spPr>
        <p:txBody>
          <a:bodyPr/>
          <a:lstStyle/>
          <a:p>
            <a:r>
              <a:rPr lang="en-US"/>
              <a:t>Microsoft Fabric</a:t>
            </a:r>
          </a:p>
        </p:txBody>
      </p:sp>
      <p:sp>
        <p:nvSpPr>
          <p:cNvPr id="903" name="Text Placeholder 902">
            <a:extLst>
              <a:ext uri="{FF2B5EF4-FFF2-40B4-BE49-F238E27FC236}">
                <a16:creationId xmlns:a16="http://schemas.microsoft.com/office/drawing/2014/main" id="{874409D3-6D8E-26D0-78EC-8714757F75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858" y="2093821"/>
            <a:ext cx="880523" cy="297990"/>
          </a:xfrm>
        </p:spPr>
        <p:txBody>
          <a:bodyPr/>
          <a:lstStyle/>
          <a:p>
            <a:pPr lvl="0"/>
            <a:r>
              <a:rPr lang="en-US"/>
              <a:t>Data </a:t>
            </a:r>
          </a:p>
          <a:p>
            <a:pPr lvl="0"/>
            <a:r>
              <a:rPr lang="en-US"/>
              <a:t>Factory</a:t>
            </a:r>
          </a:p>
        </p:txBody>
      </p:sp>
      <p:sp>
        <p:nvSpPr>
          <p:cNvPr id="904" name="Text Placeholder 903">
            <a:extLst>
              <a:ext uri="{FF2B5EF4-FFF2-40B4-BE49-F238E27FC236}">
                <a16:creationId xmlns:a16="http://schemas.microsoft.com/office/drawing/2014/main" id="{63D1AD65-E571-FF30-3C98-249D5D2244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710305" y="2093821"/>
            <a:ext cx="880523" cy="297990"/>
          </a:xfrm>
        </p:spPr>
        <p:txBody>
          <a:bodyPr/>
          <a:lstStyle/>
          <a:p>
            <a:pPr lvl="0"/>
            <a:r>
              <a:rPr lang="en-US"/>
              <a:t>Data </a:t>
            </a:r>
          </a:p>
          <a:p>
            <a:pPr lvl="0"/>
            <a:r>
              <a:rPr lang="en-US"/>
              <a:t>Engineering</a:t>
            </a:r>
          </a:p>
        </p:txBody>
      </p:sp>
      <p:sp>
        <p:nvSpPr>
          <p:cNvPr id="909" name="Text Placeholder 908">
            <a:extLst>
              <a:ext uri="{FF2B5EF4-FFF2-40B4-BE49-F238E27FC236}">
                <a16:creationId xmlns:a16="http://schemas.microsoft.com/office/drawing/2014/main" id="{C43F0E7B-4442-BCD1-34AA-F20749B5E3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267" y="2093821"/>
            <a:ext cx="880523" cy="297990"/>
          </a:xfrm>
        </p:spPr>
        <p:txBody>
          <a:bodyPr/>
          <a:lstStyle/>
          <a:p>
            <a:pPr lvl="0"/>
            <a:r>
              <a:rPr lang="en-US"/>
              <a:t>Data</a:t>
            </a:r>
          </a:p>
          <a:p>
            <a:pPr lvl="0"/>
            <a:r>
              <a:rPr lang="en-US"/>
              <a:t>Science</a:t>
            </a:r>
          </a:p>
        </p:txBody>
      </p:sp>
      <p:sp>
        <p:nvSpPr>
          <p:cNvPr id="914" name="Text Placeholder 913">
            <a:extLst>
              <a:ext uri="{FF2B5EF4-FFF2-40B4-BE49-F238E27FC236}">
                <a16:creationId xmlns:a16="http://schemas.microsoft.com/office/drawing/2014/main" id="{6C7DCBF6-4D17-7649-8855-D7FA33AE64B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678141" y="2093821"/>
            <a:ext cx="880523" cy="297990"/>
          </a:xfrm>
        </p:spPr>
        <p:txBody>
          <a:bodyPr/>
          <a:lstStyle/>
          <a:p>
            <a:r>
              <a:rPr lang="en-US"/>
              <a:t>Data</a:t>
            </a:r>
            <a:br>
              <a:rPr lang="en-US"/>
            </a:br>
            <a:r>
              <a:rPr lang="en-US"/>
              <a:t>Warehousing</a:t>
            </a:r>
          </a:p>
        </p:txBody>
      </p:sp>
      <p:sp>
        <p:nvSpPr>
          <p:cNvPr id="919" name="Text Placeholder 918">
            <a:extLst>
              <a:ext uri="{FF2B5EF4-FFF2-40B4-BE49-F238E27FC236}">
                <a16:creationId xmlns:a16="http://schemas.microsoft.com/office/drawing/2014/main" id="{3354B7FC-8364-B729-5E0D-EC8DB742A37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647241" y="2093821"/>
            <a:ext cx="880523" cy="297990"/>
          </a:xfrm>
        </p:spPr>
        <p:txBody>
          <a:bodyPr/>
          <a:lstStyle/>
          <a:p>
            <a:r>
              <a:rPr lang="en-US"/>
              <a:t>Real -Time Intelligence</a:t>
            </a:r>
          </a:p>
        </p:txBody>
      </p:sp>
      <p:sp>
        <p:nvSpPr>
          <p:cNvPr id="933" name="Text Placeholder 932">
            <a:extLst>
              <a:ext uri="{FF2B5EF4-FFF2-40B4-BE49-F238E27FC236}">
                <a16:creationId xmlns:a16="http://schemas.microsoft.com/office/drawing/2014/main" id="{DCC7D1A8-93EE-73B5-3D0D-AD147BEFAF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39983" y="2093821"/>
            <a:ext cx="880523" cy="297990"/>
          </a:xfrm>
        </p:spPr>
        <p:txBody>
          <a:bodyPr/>
          <a:lstStyle/>
          <a:p>
            <a:r>
              <a:rPr lang="en-US"/>
              <a:t>Power</a:t>
            </a:r>
            <a:br>
              <a:rPr lang="en-US"/>
            </a:br>
            <a:r>
              <a:rPr lang="en-US"/>
              <a:t>BI</a:t>
            </a:r>
          </a:p>
        </p:txBody>
      </p:sp>
      <p:sp>
        <p:nvSpPr>
          <p:cNvPr id="942" name="Text Placeholder 941">
            <a:extLst>
              <a:ext uri="{FF2B5EF4-FFF2-40B4-BE49-F238E27FC236}">
                <a16:creationId xmlns:a16="http://schemas.microsoft.com/office/drawing/2014/main" id="{C48FFCAE-CF74-3D8E-AAC0-289A0B8803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628328" y="2084522"/>
            <a:ext cx="880523" cy="297990"/>
          </a:xfrm>
        </p:spPr>
        <p:txBody>
          <a:bodyPr/>
          <a:lstStyle/>
          <a:p>
            <a:r>
              <a:rPr lang="en-US"/>
              <a:t>Partner &amp; Industry workloads</a:t>
            </a:r>
          </a:p>
        </p:txBody>
      </p:sp>
      <p:sp>
        <p:nvSpPr>
          <p:cNvPr id="946" name="Text Placeholder 945">
            <a:extLst>
              <a:ext uri="{FF2B5EF4-FFF2-40B4-BE49-F238E27FC236}">
                <a16:creationId xmlns:a16="http://schemas.microsoft.com/office/drawing/2014/main" id="{C7988969-EFE3-6AF2-1C83-E9FBCF77FF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125607" y="2925269"/>
            <a:ext cx="510018" cy="327789"/>
          </a:xfrm>
        </p:spPr>
        <p:txBody>
          <a:bodyPr/>
          <a:lstStyle/>
          <a:p>
            <a:r>
              <a:rPr lang="en-US"/>
              <a:t>Spark</a:t>
            </a:r>
          </a:p>
        </p:txBody>
      </p:sp>
      <p:sp>
        <p:nvSpPr>
          <p:cNvPr id="947" name="Text Placeholder 946">
            <a:extLst>
              <a:ext uri="{FF2B5EF4-FFF2-40B4-BE49-F238E27FC236}">
                <a16:creationId xmlns:a16="http://schemas.microsoft.com/office/drawing/2014/main" id="{D0117569-9458-27DC-3FF0-ECB08B28150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15804" y="2922556"/>
            <a:ext cx="532663" cy="327789"/>
          </a:xfrm>
        </p:spPr>
        <p:txBody>
          <a:bodyPr/>
          <a:lstStyle/>
          <a:p>
            <a:r>
              <a:rPr lang="en-US"/>
              <a:t>T-SQL</a:t>
            </a:r>
          </a:p>
        </p:txBody>
      </p:sp>
      <p:sp>
        <p:nvSpPr>
          <p:cNvPr id="945" name="Text Placeholder 944">
            <a:extLst>
              <a:ext uri="{FF2B5EF4-FFF2-40B4-BE49-F238E27FC236}">
                <a16:creationId xmlns:a16="http://schemas.microsoft.com/office/drawing/2014/main" id="{D8A0B9E2-9376-3FFB-D788-6E31DAA68B4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28164" y="2946381"/>
            <a:ext cx="1637005" cy="270769"/>
          </a:xfrm>
        </p:spPr>
        <p:txBody>
          <a:bodyPr/>
          <a:lstStyle/>
          <a:p>
            <a:r>
              <a:rPr lang="en-US"/>
              <a:t>Serverless</a:t>
            </a:r>
            <a:br>
              <a:rPr lang="en-US"/>
            </a:br>
            <a:r>
              <a:rPr lang="en-US"/>
              <a:t>Compute</a:t>
            </a:r>
          </a:p>
        </p:txBody>
      </p:sp>
      <p:sp>
        <p:nvSpPr>
          <p:cNvPr id="952" name="Text Placeholder 951">
            <a:extLst>
              <a:ext uri="{FF2B5EF4-FFF2-40B4-BE49-F238E27FC236}">
                <a16:creationId xmlns:a16="http://schemas.microsoft.com/office/drawing/2014/main" id="{C797D722-272C-109B-E5B9-6DCF62BF4E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50192" y="2922556"/>
            <a:ext cx="518314" cy="327789"/>
          </a:xfrm>
        </p:spPr>
        <p:txBody>
          <a:bodyPr/>
          <a:lstStyle/>
          <a:p>
            <a:r>
              <a:rPr lang="en-US" err="1"/>
              <a:t>KQL</a:t>
            </a:r>
            <a:endParaRPr lang="en-US"/>
          </a:p>
        </p:txBody>
      </p:sp>
      <p:sp>
        <p:nvSpPr>
          <p:cNvPr id="956" name="Text Placeholder 955">
            <a:extLst>
              <a:ext uri="{FF2B5EF4-FFF2-40B4-BE49-F238E27FC236}">
                <a16:creationId xmlns:a16="http://schemas.microsoft.com/office/drawing/2014/main" id="{752632D0-6F8E-E1BC-D523-3B4548F31C2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793971" y="2922556"/>
            <a:ext cx="573238" cy="327789"/>
          </a:xfrm>
        </p:spPr>
        <p:txBody>
          <a:bodyPr/>
          <a:lstStyle/>
          <a:p>
            <a:r>
              <a:rPr lang="en-US"/>
              <a:t>Analysis</a:t>
            </a:r>
            <a:br>
              <a:rPr lang="en-US"/>
            </a:br>
            <a:r>
              <a:rPr lang="en-US"/>
              <a:t>Services</a:t>
            </a:r>
          </a:p>
        </p:txBody>
      </p:sp>
      <p:sp>
        <p:nvSpPr>
          <p:cNvPr id="960" name="Text Placeholder 959">
            <a:extLst>
              <a:ext uri="{FF2B5EF4-FFF2-40B4-BE49-F238E27FC236}">
                <a16:creationId xmlns:a16="http://schemas.microsoft.com/office/drawing/2014/main" id="{1B4C4D61-D215-213E-8344-D90C060020D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91996" y="4046040"/>
            <a:ext cx="622769" cy="297990"/>
          </a:xfrm>
        </p:spPr>
        <p:txBody>
          <a:bodyPr/>
          <a:lstStyle/>
          <a:p>
            <a:r>
              <a:rPr lang="en-US"/>
              <a:t>Customer</a:t>
            </a:r>
            <a:br>
              <a:rPr lang="en-US"/>
            </a:br>
            <a:r>
              <a:rPr lang="en-US"/>
              <a:t>360</a:t>
            </a:r>
          </a:p>
        </p:txBody>
      </p:sp>
      <p:sp>
        <p:nvSpPr>
          <p:cNvPr id="961" name="Text Placeholder 960">
            <a:extLst>
              <a:ext uri="{FF2B5EF4-FFF2-40B4-BE49-F238E27FC236}">
                <a16:creationId xmlns:a16="http://schemas.microsoft.com/office/drawing/2014/main" id="{88BFCDC8-AD6F-1A8B-B3A1-06BD39A1510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58129" y="4046040"/>
            <a:ext cx="444772" cy="297990"/>
          </a:xfrm>
        </p:spPr>
        <p:txBody>
          <a:bodyPr/>
          <a:lstStyle/>
          <a:p>
            <a:r>
              <a:rPr lang="en-US" noProof="0"/>
              <a:t>Finance</a:t>
            </a:r>
            <a:endParaRPr lang="en-US"/>
          </a:p>
        </p:txBody>
      </p:sp>
      <p:sp>
        <p:nvSpPr>
          <p:cNvPr id="1340" name="Text Placeholder 1339">
            <a:extLst>
              <a:ext uri="{FF2B5EF4-FFF2-40B4-BE49-F238E27FC236}">
                <a16:creationId xmlns:a16="http://schemas.microsoft.com/office/drawing/2014/main" id="{5338AAF3-D488-DB6A-B9CC-A0D5282CC88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28164" y="4134966"/>
            <a:ext cx="1637005" cy="270769"/>
          </a:xfrm>
        </p:spPr>
        <p:txBody>
          <a:bodyPr/>
          <a:lstStyle/>
          <a:p>
            <a:r>
              <a:rPr lang="en-US" err="1"/>
              <a:t>OneLake</a:t>
            </a:r>
            <a:endParaRPr lang="en-US"/>
          </a:p>
        </p:txBody>
      </p:sp>
      <p:sp>
        <p:nvSpPr>
          <p:cNvPr id="1341" name="Text Placeholder 1340">
            <a:extLst>
              <a:ext uri="{FF2B5EF4-FFF2-40B4-BE49-F238E27FC236}">
                <a16:creationId xmlns:a16="http://schemas.microsoft.com/office/drawing/2014/main" id="{B70A73FB-FB33-7442-2BF1-19C5010AC6D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28275" y="4046040"/>
            <a:ext cx="623416" cy="297990"/>
          </a:xfrm>
        </p:spPr>
        <p:txBody>
          <a:bodyPr/>
          <a:lstStyle/>
          <a:p>
            <a:r>
              <a:rPr lang="en-US"/>
              <a:t>Service </a:t>
            </a:r>
            <a:br>
              <a:rPr lang="en-US"/>
            </a:br>
            <a:r>
              <a:rPr lang="en-US"/>
              <a:t>Telemetry</a:t>
            </a:r>
          </a:p>
        </p:txBody>
      </p:sp>
      <p:sp>
        <p:nvSpPr>
          <p:cNvPr id="1342" name="Text Placeholder 1341">
            <a:extLst>
              <a:ext uri="{FF2B5EF4-FFF2-40B4-BE49-F238E27FC236}">
                <a16:creationId xmlns:a16="http://schemas.microsoft.com/office/drawing/2014/main" id="{60F82BCE-4763-4160-214B-26DEC4A44B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766778" y="4046040"/>
            <a:ext cx="558491" cy="297990"/>
          </a:xfrm>
        </p:spPr>
        <p:txBody>
          <a:bodyPr/>
          <a:lstStyle/>
          <a:p>
            <a:r>
              <a:rPr lang="en-US"/>
              <a:t>Business </a:t>
            </a:r>
            <a:br>
              <a:rPr lang="en-US"/>
            </a:br>
            <a:r>
              <a:rPr lang="en-US" err="1"/>
              <a:t>KPIs</a:t>
            </a:r>
            <a:endParaRPr lang="en-US"/>
          </a:p>
        </p:txBody>
      </p:sp>
      <p:sp>
        <p:nvSpPr>
          <p:cNvPr id="1343" name="Text Placeholder 1342">
            <a:extLst>
              <a:ext uri="{FF2B5EF4-FFF2-40B4-BE49-F238E27FC236}">
                <a16:creationId xmlns:a16="http://schemas.microsoft.com/office/drawing/2014/main" id="{047E3917-5782-D721-64B6-775A7644800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846974" y="5252611"/>
            <a:ext cx="904201" cy="193807"/>
          </a:xfrm>
        </p:spPr>
        <p:txBody>
          <a:bodyPr/>
          <a:lstStyle/>
          <a:p>
            <a:r>
              <a:rPr lang="en-US"/>
              <a:t>Dataverse</a:t>
            </a:r>
          </a:p>
        </p:txBody>
      </p:sp>
      <p:sp>
        <p:nvSpPr>
          <p:cNvPr id="1344" name="Text Placeholder 1343">
            <a:extLst>
              <a:ext uri="{FF2B5EF4-FFF2-40B4-BE49-F238E27FC236}">
                <a16:creationId xmlns:a16="http://schemas.microsoft.com/office/drawing/2014/main" id="{0BD2D59F-B836-5DFA-97C6-DCF8EC76324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66760" y="5252611"/>
            <a:ext cx="904201" cy="193807"/>
          </a:xfrm>
        </p:spPr>
        <p:txBody>
          <a:bodyPr/>
          <a:lstStyle/>
          <a:p>
            <a:r>
              <a:rPr lang="en-US"/>
              <a:t>Google</a:t>
            </a:r>
          </a:p>
        </p:txBody>
      </p:sp>
      <p:sp>
        <p:nvSpPr>
          <p:cNvPr id="1345" name="Text Placeholder 1344">
            <a:extLst>
              <a:ext uri="{FF2B5EF4-FFF2-40B4-BE49-F238E27FC236}">
                <a16:creationId xmlns:a16="http://schemas.microsoft.com/office/drawing/2014/main" id="{4E9E4E97-4EFA-623E-8CB2-79C5B2E6303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694565" y="5252611"/>
            <a:ext cx="904201" cy="193807"/>
          </a:xfrm>
        </p:spPr>
        <p:txBody>
          <a:bodyPr/>
          <a:lstStyle/>
          <a:p>
            <a:r>
              <a:rPr lang="en-US"/>
              <a:t>Amazon</a:t>
            </a:r>
          </a:p>
        </p:txBody>
      </p:sp>
      <p:sp>
        <p:nvSpPr>
          <p:cNvPr id="1346" name="Text Placeholder 1345">
            <a:extLst>
              <a:ext uri="{FF2B5EF4-FFF2-40B4-BE49-F238E27FC236}">
                <a16:creationId xmlns:a16="http://schemas.microsoft.com/office/drawing/2014/main" id="{E5EA4DAB-32C3-F3EE-7539-A541064DAB4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805259" y="5252611"/>
            <a:ext cx="904201" cy="193807"/>
          </a:xfrm>
        </p:spPr>
        <p:txBody>
          <a:bodyPr/>
          <a:lstStyle/>
          <a:p>
            <a:r>
              <a:rPr lang="en-US"/>
              <a:t>Azure</a:t>
            </a:r>
          </a:p>
        </p:txBody>
      </p:sp>
      <p:sp>
        <p:nvSpPr>
          <p:cNvPr id="1338" name="Text Placeholder 1337">
            <a:extLst>
              <a:ext uri="{FF2B5EF4-FFF2-40B4-BE49-F238E27FC236}">
                <a16:creationId xmlns:a16="http://schemas.microsoft.com/office/drawing/2014/main" id="{B2B077FD-9ED6-F77C-52CB-3F570B046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7123" y="5628601"/>
            <a:ext cx="2810641" cy="240053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</a:rPr>
              <a:t>Multi-cloud shortcuts</a:t>
            </a:r>
          </a:p>
        </p:txBody>
      </p:sp>
      <p:sp>
        <p:nvSpPr>
          <p:cNvPr id="1339" name="Text Placeholder 1338">
            <a:extLst>
              <a:ext uri="{FF2B5EF4-FFF2-40B4-BE49-F238E27FC236}">
                <a16:creationId xmlns:a16="http://schemas.microsoft.com/office/drawing/2014/main" id="{8C2DC3A6-3E14-B82E-88CB-16A9ECB1BD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82990" y="5884213"/>
            <a:ext cx="3878907" cy="569645"/>
          </a:xfrm>
        </p:spPr>
        <p:txBody>
          <a:bodyPr/>
          <a:lstStyle/>
          <a:p>
            <a:r>
              <a:rPr lang="en-US"/>
              <a:t>Virtualize data in </a:t>
            </a:r>
            <a:r>
              <a:rPr lang="en-US" err="1"/>
              <a:t>OneLake</a:t>
            </a:r>
            <a:r>
              <a:rPr lang="en-US"/>
              <a:t> from Azure, Dataverse, Google,</a:t>
            </a:r>
            <a:br>
              <a:rPr lang="en-US"/>
            </a:br>
            <a:r>
              <a:rPr lang="en-US"/>
              <a:t>and Amazon S3 without moving or duplicating i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F4B29DD-FD8A-4125-7FCC-10C0B40B74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73581" y="1699168"/>
            <a:ext cx="344883" cy="3448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BBCB4D6-1ECE-899F-161F-FF4CFB626917}"/>
              </a:ext>
            </a:extLst>
          </p:cNvPr>
          <p:cNvSpPr txBox="1"/>
          <p:nvPr/>
        </p:nvSpPr>
        <p:spPr>
          <a:xfrm>
            <a:off x="222941" y="6584428"/>
            <a:ext cx="11603737" cy="169277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>
            <a:defPPr>
              <a:defRPr lang="en-US"/>
            </a:defPPr>
            <a:lvl1pPr>
              <a:buNone/>
              <a:defRPr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Segoe Sans Display" pitchFamily="2" charset="0"/>
              </a:rPr>
              <a:t>*Note: refer to seller guidance and present this section to Microsoft/Fabric users</a:t>
            </a:r>
          </a:p>
        </p:txBody>
      </p:sp>
    </p:spTree>
    <p:extLst>
      <p:ext uri="{BB962C8B-B14F-4D97-AF65-F5344CB8AC3E}">
        <p14:creationId xmlns:p14="http://schemas.microsoft.com/office/powerpoint/2010/main" val="1965658762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88857-73FC-A938-7243-2FECAB213B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>
            <a:extLst>
              <a:ext uri="{FF2B5EF4-FFF2-40B4-BE49-F238E27FC236}">
                <a16:creationId xmlns:a16="http://schemas.microsoft.com/office/drawing/2014/main" id="{31FE1B3E-0AED-1158-6C00-03A5C4F61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7675" y="0"/>
            <a:ext cx="4124325" cy="6467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le 8">
            <a:extLst>
              <a:ext uri="{FF2B5EF4-FFF2-40B4-BE49-F238E27FC236}">
                <a16:creationId xmlns:a16="http://schemas.microsoft.com/office/drawing/2014/main" id="{1E176BD3-1BBA-9054-D67D-3193A2A95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522429" y="1094767"/>
            <a:ext cx="9147143" cy="5278438"/>
          </a:xfrm>
          <a:prstGeom prst="roundRect">
            <a:avLst>
              <a:gd name="adj" fmla="val 4000"/>
            </a:avLst>
          </a:prstGeom>
          <a:solidFill>
            <a:srgbClr val="FFFFFF">
              <a:alpha val="70000"/>
            </a:srgbClr>
          </a:solidFill>
          <a:ln>
            <a:noFill/>
          </a:ln>
          <a:effectLst>
            <a:outerShdw blurRad="1016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25B61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346477-7F15-951A-4524-BE289F4D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237" y="365125"/>
            <a:ext cx="10091737" cy="549275"/>
          </a:xfrm>
        </p:spPr>
        <p:txBody>
          <a:bodyPr/>
          <a:lstStyle/>
          <a:p>
            <a:r>
              <a:rPr lang="en-US" dirty="0"/>
              <a:t>Copilot in Fabric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BE04B9-298D-B3B2-8AE9-EEEC7FDCAE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39" y="260351"/>
            <a:ext cx="768354" cy="768350"/>
          </a:xfrm>
          <a:prstGeom prst="rect">
            <a:avLst/>
          </a:prstGeom>
        </p:spPr>
      </p:pic>
      <p:pic>
        <p:nvPicPr>
          <p:cNvPr id="3" name="Fabric_Sizzle_MP4_Captions_R&amp;F_Microsoft_050423" descr="A video on Copilot integration into every data experience">
            <a:hlinkClick r:id="" action="ppaction://media"/>
            <a:extLst>
              <a:ext uri="{FF2B5EF4-FFF2-40B4-BE49-F238E27FC236}">
                <a16:creationId xmlns:a16="http://schemas.microsoft.com/office/drawing/2014/main" id="{061D342F-9219-0376-556F-DE3466621EB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698752" y="1260534"/>
            <a:ext cx="8794496" cy="4946904"/>
          </a:xfrm>
          <a:prstGeom prst="roundRect">
            <a:avLst>
              <a:gd name="adj" fmla="val 2500"/>
            </a:avLst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0E8B9B-E1FA-3BF6-37A7-E974ED88A5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356FBF-028C-F74E-A7B4-9B8ED246DD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25B61">
                    <a:tint val="75000"/>
                  </a:srgbClr>
                </a:solidFill>
                <a:effectLst/>
                <a:uLnTx/>
                <a:uFillTx/>
                <a:latin typeface="Segoe Sans Small Semilight" pitchFamily="2" charset="0"/>
                <a:ea typeface="+mn-ea"/>
                <a:cs typeface="Segoe Sans Small Semilight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25B61">
                  <a:tint val="75000"/>
                </a:srgbClr>
              </a:solidFill>
              <a:effectLst/>
              <a:uLnTx/>
              <a:uFillTx/>
              <a:latin typeface="Segoe Sans Small Semilight" pitchFamily="2" charset="0"/>
              <a:ea typeface="+mn-ea"/>
              <a:cs typeface="Segoe Sans Small Semilight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479464-FD1E-02F1-9FDA-E8A1444E53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25B61">
                    <a:tint val="75000"/>
                  </a:srgbClr>
                </a:solidFill>
                <a:effectLst/>
                <a:uLnTx/>
                <a:uFillTx/>
                <a:latin typeface="Segoe Sans Small Semilight" pitchFamily="2" charset="0"/>
                <a:ea typeface="+mn-ea"/>
                <a:cs typeface="Segoe Sans Small Semilight" pitchFamily="2" charset="0"/>
              </a:rPr>
              <a:t>Microsoft Fabric</a:t>
            </a:r>
          </a:p>
        </p:txBody>
      </p:sp>
    </p:spTree>
    <p:extLst>
      <p:ext uri="{BB962C8B-B14F-4D97-AF65-F5344CB8AC3E}">
        <p14:creationId xmlns:p14="http://schemas.microsoft.com/office/powerpoint/2010/main" val="3324317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87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9184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C709F95-277A-5D6F-A2C1-C2BDB9566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193"/>
            <a:ext cx="12192000" cy="68328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308079-D209-25B3-B2C4-56CAEB955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5395" y="2124137"/>
            <a:ext cx="1083762" cy="2396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B517013-19CC-4D03-0ACD-78AB44B3BFBC}"/>
              </a:ext>
            </a:extLst>
          </p:cNvPr>
          <p:cNvSpPr txBox="1"/>
          <p:nvPr/>
        </p:nvSpPr>
        <p:spPr>
          <a:xfrm rot="20410338">
            <a:off x="9167062" y="700041"/>
            <a:ext cx="1835278" cy="430887"/>
          </a:xfrm>
          <a:prstGeom prst="rect">
            <a:avLst/>
          </a:prstGeom>
          <a:noFill/>
          <a:ln w="28575">
            <a:solidFill>
              <a:srgbClr val="92D050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dirty="0">
                <a:solidFill>
                  <a:schemeClr val="accent1"/>
                </a:solidFill>
              </a:rPr>
              <a:t>outdated</a:t>
            </a:r>
            <a:endParaRPr lang="en-HK" sz="2000" b="1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0755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76086-6D96-7A47-87B4-656E46D29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Azure AI + Microsoft Fabric = boundless possibilities</a:t>
            </a:r>
          </a:p>
        </p:txBody>
      </p:sp>
      <p:grpSp>
        <p:nvGrpSpPr>
          <p:cNvPr id="6" name="Group 5" descr="Azure ai studio: Your gateway to AI apps and custom copilot experiences&#10;">
            <a:extLst>
              <a:ext uri="{FF2B5EF4-FFF2-40B4-BE49-F238E27FC236}">
                <a16:creationId xmlns:a16="http://schemas.microsoft.com/office/drawing/2014/main" id="{967D2300-D5AC-83A5-60B1-92789F7A1F81}"/>
              </a:ext>
            </a:extLst>
          </p:cNvPr>
          <p:cNvGrpSpPr/>
          <p:nvPr/>
        </p:nvGrpSpPr>
        <p:grpSpPr>
          <a:xfrm>
            <a:off x="806416" y="2474383"/>
            <a:ext cx="2011072" cy="2025938"/>
            <a:chOff x="806416" y="2474383"/>
            <a:chExt cx="2011072" cy="2025938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8FD90C5-AD6B-5B4B-A7B0-DD3038D9860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rot="10800000">
              <a:off x="806416" y="2474383"/>
              <a:ext cx="2011072" cy="2025938"/>
              <a:chOff x="9599227" y="2570330"/>
              <a:chExt cx="2011072" cy="2025938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D769D6A3-3559-C14F-87A7-B2C0C8B4945E}"/>
                  </a:ext>
                </a:extLst>
              </p:cNvPr>
              <p:cNvGrpSpPr/>
              <p:nvPr/>
            </p:nvGrpSpPr>
            <p:grpSpPr>
              <a:xfrm rot="10800000">
                <a:off x="9599227" y="2570330"/>
                <a:ext cx="2011072" cy="2025938"/>
                <a:chOff x="6683298" y="2596725"/>
                <a:chExt cx="2011072" cy="2025938"/>
              </a:xfrm>
            </p:grpSpPr>
            <p:sp>
              <p:nvSpPr>
                <p:cNvPr id="25" name="Freeform: Shape 59">
                  <a:extLst>
                    <a:ext uri="{FF2B5EF4-FFF2-40B4-BE49-F238E27FC236}">
                      <a16:creationId xmlns:a16="http://schemas.microsoft.com/office/drawing/2014/main" id="{8C763967-C5C9-3C40-856C-59D8A72FA55F}"/>
                    </a:ext>
                  </a:extLst>
                </p:cNvPr>
                <p:cNvSpPr/>
                <p:nvPr/>
              </p:nvSpPr>
              <p:spPr>
                <a:xfrm>
                  <a:off x="6683298" y="2596725"/>
                  <a:ext cx="1012970" cy="2025938"/>
                </a:xfrm>
                <a:custGeom>
                  <a:avLst/>
                  <a:gdLst>
                    <a:gd name="connsiteX0" fmla="*/ 1081619 w 1081619"/>
                    <a:gd name="connsiteY0" fmla="*/ 0 h 2163238"/>
                    <a:gd name="connsiteX1" fmla="*/ 1081619 w 1081619"/>
                    <a:gd name="connsiteY1" fmla="*/ 2163238 h 2163238"/>
                    <a:gd name="connsiteX2" fmla="*/ 0 w 1081619"/>
                    <a:gd name="connsiteY2" fmla="*/ 1081619 h 2163238"/>
                    <a:gd name="connsiteX3" fmla="*/ 1081619 w 1081619"/>
                    <a:gd name="connsiteY3" fmla="*/ 0 h 21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1619" h="2163238">
                      <a:moveTo>
                        <a:pt x="1081619" y="0"/>
                      </a:moveTo>
                      <a:lnTo>
                        <a:pt x="1081619" y="2163238"/>
                      </a:lnTo>
                      <a:cubicBezTo>
                        <a:pt x="484257" y="2163238"/>
                        <a:pt x="0" y="1678981"/>
                        <a:pt x="0" y="1081619"/>
                      </a:cubicBezTo>
                      <a:cubicBezTo>
                        <a:pt x="0" y="484257"/>
                        <a:pt x="484257" y="0"/>
                        <a:pt x="1081619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tx2"/>
                    </a:gs>
                    <a:gs pos="0">
                      <a:schemeClr val="tx2">
                        <a:lumMod val="5000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  <a:effectLst/>
              </p:spPr>
              <p:txBody>
                <a:bodyPr vert="horz" wrap="square" lIns="91440" tIns="91440" rIns="91440" bIns="91440" rtlCol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6" name="Arc 25">
                  <a:extLst>
                    <a:ext uri="{FF2B5EF4-FFF2-40B4-BE49-F238E27FC236}">
                      <a16:creationId xmlns:a16="http://schemas.microsoft.com/office/drawing/2014/main" id="{ADF2AC2D-2264-4044-ADCD-4639F63CEF77}"/>
                    </a:ext>
                  </a:extLst>
                </p:cNvPr>
                <p:cNvSpPr/>
                <p:nvPr/>
              </p:nvSpPr>
              <p:spPr>
                <a:xfrm>
                  <a:off x="6741042" y="2633031"/>
                  <a:ext cx="1953328" cy="1953326"/>
                </a:xfrm>
                <a:prstGeom prst="arc">
                  <a:avLst>
                    <a:gd name="adj1" fmla="val 16434582"/>
                    <a:gd name="adj2" fmla="val 5283850"/>
                  </a:avLst>
                </a:prstGeom>
                <a:ln w="6350">
                  <a:solidFill>
                    <a:schemeClr val="bg1">
                      <a:lumMod val="65000"/>
                      <a:lumOff val="35000"/>
                      <a:alpha val="50000"/>
                    </a:schemeClr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" pitchFamily="34" charset="0"/>
                  </a:endParaRPr>
                </a:p>
              </p:txBody>
            </p:sp>
          </p:grp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11EA4F6-9CF5-4842-885E-A37DA9CD59ED}"/>
                  </a:ext>
                </a:extLst>
              </p:cNvPr>
              <p:cNvSpPr/>
              <p:nvPr/>
            </p:nvSpPr>
            <p:spPr>
              <a:xfrm flipH="1">
                <a:off x="9702604" y="2681140"/>
                <a:ext cx="1804319" cy="1804318"/>
              </a:xfrm>
              <a:prstGeom prst="ellipse">
                <a:avLst/>
              </a:prstGeom>
              <a:solidFill>
                <a:srgbClr val="FCFCFC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235619" dist="38100" dir="2700000" algn="tl" rotWithShape="0">
                  <a:prstClr val="black">
                    <a:alpha val="19837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50" b="0" i="0" u="none" strike="noStrike" kern="1200" cap="none" spc="0" normalizeH="0" baseline="0" noProof="0">
                  <a:ln>
                    <a:noFill/>
                  </a:ln>
                  <a:solidFill>
                    <a:srgbClr val="49C5B1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UI" pitchFamily="34" charset="0"/>
                </a:endParaRPr>
              </a:p>
            </p:txBody>
          </p:sp>
        </p:grpSp>
        <p:pic>
          <p:nvPicPr>
            <p:cNvPr id="27" name="Graphic 26" descr="Azure AI Studio logo&#10;">
              <a:extLst>
                <a:ext uri="{FF2B5EF4-FFF2-40B4-BE49-F238E27FC236}">
                  <a16:creationId xmlns:a16="http://schemas.microsoft.com/office/drawing/2014/main" id="{AA17E9EB-A633-394E-895F-C4A575036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584" t="6583" r="6584" b="6583"/>
            <a:stretch/>
          </p:blipFill>
          <p:spPr>
            <a:xfrm>
              <a:off x="1567799" y="2737608"/>
              <a:ext cx="488306" cy="48830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18B81E1-5B64-3D45-B2DD-421D6B0730D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182773" y="3323456"/>
              <a:ext cx="1258358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3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Azure AI Studio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8445035-C69F-5A44-BC46-3FC61E63B46B}"/>
                </a:ext>
              </a:extLst>
            </p:cNvPr>
            <p:cNvSpPr txBox="1"/>
            <p:nvPr/>
          </p:nvSpPr>
          <p:spPr>
            <a:xfrm>
              <a:off x="1225676" y="3620042"/>
              <a:ext cx="1172552" cy="4847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light"/>
                  <a:ea typeface="+mn-ea"/>
                  <a:cs typeface="+mn-cs"/>
                </a:rPr>
                <a:t>Your gateway to AI apps and custom copilot experiences</a:t>
              </a:r>
            </a:p>
          </p:txBody>
        </p:sp>
      </p:grpSp>
      <p:grpSp>
        <p:nvGrpSpPr>
          <p:cNvPr id="34" name="Group 33" descr="Enhance data insights&#10;Build enterprise chat applications to uncover insights using natural language from structured, unstructured, and real-time data&#10;">
            <a:extLst>
              <a:ext uri="{FF2B5EF4-FFF2-40B4-BE49-F238E27FC236}">
                <a16:creationId xmlns:a16="http://schemas.microsoft.com/office/drawing/2014/main" id="{C5A25094-4012-B63A-6815-DAC3E07B8E5F}"/>
              </a:ext>
            </a:extLst>
          </p:cNvPr>
          <p:cNvGrpSpPr/>
          <p:nvPr/>
        </p:nvGrpSpPr>
        <p:grpSpPr>
          <a:xfrm>
            <a:off x="3234811" y="1575563"/>
            <a:ext cx="5722376" cy="914400"/>
            <a:chOff x="3234811" y="1575563"/>
            <a:chExt cx="5722376" cy="914400"/>
          </a:xfrm>
        </p:grpSpPr>
        <p:sp>
          <p:nvSpPr>
            <p:cNvPr id="8" name="Rectangle: Rounded Corners 69">
              <a:extLst>
                <a:ext uri="{FF2B5EF4-FFF2-40B4-BE49-F238E27FC236}">
                  <a16:creationId xmlns:a16="http://schemas.microsoft.com/office/drawing/2014/main" id="{0E9C2797-618D-8441-A70F-3A8DD06266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234811" y="1575563"/>
              <a:ext cx="5722376" cy="914400"/>
            </a:xfrm>
            <a:prstGeom prst="roundRect">
              <a:avLst>
                <a:gd name="adj" fmla="val 12366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0">
                    <a:schemeClr val="accent3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Yu Mincho" panose="02020400000000000000" pitchFamily="18" charset="-128"/>
                <a:cs typeface="Segoe Sans Display Semibold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DA2C4EE-F57E-2342-BD90-2617EF13983B}"/>
                </a:ext>
              </a:extLst>
            </p:cNvPr>
            <p:cNvSpPr txBox="1"/>
            <p:nvPr/>
          </p:nvSpPr>
          <p:spPr>
            <a:xfrm>
              <a:off x="3460752" y="1700037"/>
              <a:ext cx="5270494" cy="623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Enhance data insigh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1919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Sans Text" pitchFamily="2" charset="0"/>
                </a:rPr>
                <a:t>Build enterprise chat applications to uncover insights using natural language from structured, unstructured, and real-time data</a:t>
              </a:r>
            </a:p>
          </p:txBody>
        </p:sp>
      </p:grpSp>
      <p:grpSp>
        <p:nvGrpSpPr>
          <p:cNvPr id="35" name="Group 34" descr="Ground your AI on structured and unstructured data&#10;Ensure your AI is using the latest data in its interactions with your employees, partners, and customers&#10;">
            <a:extLst>
              <a:ext uri="{FF2B5EF4-FFF2-40B4-BE49-F238E27FC236}">
                <a16:creationId xmlns:a16="http://schemas.microsoft.com/office/drawing/2014/main" id="{55903672-FE65-C7DD-2E08-4D99A99EE5BC}"/>
              </a:ext>
            </a:extLst>
          </p:cNvPr>
          <p:cNvGrpSpPr/>
          <p:nvPr/>
        </p:nvGrpSpPr>
        <p:grpSpPr>
          <a:xfrm>
            <a:off x="3234811" y="2572952"/>
            <a:ext cx="5722376" cy="914400"/>
            <a:chOff x="3234811" y="2572952"/>
            <a:chExt cx="5722376" cy="914400"/>
          </a:xfrm>
        </p:grpSpPr>
        <p:sp>
          <p:nvSpPr>
            <p:cNvPr id="39" name="Rectangle: Rounded Corners 69">
              <a:extLst>
                <a:ext uri="{FF2B5EF4-FFF2-40B4-BE49-F238E27FC236}">
                  <a16:creationId xmlns:a16="http://schemas.microsoft.com/office/drawing/2014/main" id="{D5D14527-1695-4536-E558-8BE39F0064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234811" y="2572952"/>
              <a:ext cx="5722376" cy="914400"/>
            </a:xfrm>
            <a:prstGeom prst="roundRect">
              <a:avLst>
                <a:gd name="adj" fmla="val 12366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0">
                    <a:schemeClr val="accent3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Yu Mincho" panose="02020400000000000000" pitchFamily="18" charset="-128"/>
                <a:cs typeface="Segoe Sans Display Semibold" pitchFamily="2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B3AD80A-937D-3E3D-53B1-6E3B7A90588E}"/>
                </a:ext>
              </a:extLst>
            </p:cNvPr>
            <p:cNvSpPr txBox="1"/>
            <p:nvPr/>
          </p:nvSpPr>
          <p:spPr>
            <a:xfrm>
              <a:off x="3466410" y="2715883"/>
              <a:ext cx="5270494" cy="623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Ground your AI on unstructured dat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1919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Sans Text" pitchFamily="2" charset="0"/>
                </a:rPr>
                <a:t>Ensure your AI is using the latest data in its interactions with your employees, partners, and customers</a:t>
              </a:r>
            </a:p>
          </p:txBody>
        </p:sp>
      </p:grpSp>
      <p:grpSp>
        <p:nvGrpSpPr>
          <p:cNvPr id="36" name="Group 35" descr="Analyze customer interactions&#10;Build speech analytics applications to enhance customer service, tailor support responses, and make data-driven decisions&#10;">
            <a:extLst>
              <a:ext uri="{FF2B5EF4-FFF2-40B4-BE49-F238E27FC236}">
                <a16:creationId xmlns:a16="http://schemas.microsoft.com/office/drawing/2014/main" id="{4B8AF7DC-8652-7CDB-3A65-6DE23A643A19}"/>
              </a:ext>
            </a:extLst>
          </p:cNvPr>
          <p:cNvGrpSpPr/>
          <p:nvPr/>
        </p:nvGrpSpPr>
        <p:grpSpPr>
          <a:xfrm>
            <a:off x="3234811" y="3575291"/>
            <a:ext cx="5722376" cy="914400"/>
            <a:chOff x="3234811" y="3575291"/>
            <a:chExt cx="5722376" cy="914400"/>
          </a:xfrm>
        </p:grpSpPr>
        <p:sp>
          <p:nvSpPr>
            <p:cNvPr id="9" name="Rectangle: Rounded Corners 70">
              <a:extLst>
                <a:ext uri="{FF2B5EF4-FFF2-40B4-BE49-F238E27FC236}">
                  <a16:creationId xmlns:a16="http://schemas.microsoft.com/office/drawing/2014/main" id="{5723B058-D395-3F4B-9AF1-236A1C3451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234811" y="3575291"/>
              <a:ext cx="5722376" cy="914400"/>
            </a:xfrm>
            <a:prstGeom prst="roundRect">
              <a:avLst>
                <a:gd name="adj" fmla="val 12366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0">
                    <a:schemeClr val="accent3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Yu Mincho" panose="02020400000000000000" pitchFamily="18" charset="-128"/>
                <a:cs typeface="Segoe Sans Display Semibold" pitchFamily="2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CABCF21-BFFE-E24B-8C92-0212008D2AF4}"/>
                </a:ext>
              </a:extLst>
            </p:cNvPr>
            <p:cNvSpPr txBox="1"/>
            <p:nvPr/>
          </p:nvSpPr>
          <p:spPr>
            <a:xfrm>
              <a:off x="3460752" y="3673504"/>
              <a:ext cx="5270494" cy="623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Analyze customer interactio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1919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Sans Text" pitchFamily="2" charset="0"/>
                </a:rPr>
                <a:t>Build speech analytics applications to enhance customer service, tailor support responses, and make data-driven decisions</a:t>
              </a:r>
            </a:p>
          </p:txBody>
        </p:sp>
      </p:grpSp>
      <p:grpSp>
        <p:nvGrpSpPr>
          <p:cNvPr id="37" name="Group 36" descr="Customize machine learning models&#10;Train, deploy, and orchestrate machine learning models tailored to specific business needs––from predictive maintenance to customer sentiment analysis&#10;">
            <a:extLst>
              <a:ext uri="{FF2B5EF4-FFF2-40B4-BE49-F238E27FC236}">
                <a16:creationId xmlns:a16="http://schemas.microsoft.com/office/drawing/2014/main" id="{17CE03E0-79F5-1024-76EF-E5734EB54161}"/>
              </a:ext>
            </a:extLst>
          </p:cNvPr>
          <p:cNvGrpSpPr/>
          <p:nvPr/>
        </p:nvGrpSpPr>
        <p:grpSpPr>
          <a:xfrm>
            <a:off x="3234811" y="4581321"/>
            <a:ext cx="5722376" cy="914400"/>
            <a:chOff x="3234811" y="4581321"/>
            <a:chExt cx="5722376" cy="914400"/>
          </a:xfrm>
        </p:grpSpPr>
        <p:sp>
          <p:nvSpPr>
            <p:cNvPr id="10" name="Rectangle: Rounded Corners 72">
              <a:extLst>
                <a:ext uri="{FF2B5EF4-FFF2-40B4-BE49-F238E27FC236}">
                  <a16:creationId xmlns:a16="http://schemas.microsoft.com/office/drawing/2014/main" id="{FAB9D2D4-7BA4-914E-9202-2F0DFAF239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234811" y="4581321"/>
              <a:ext cx="5722376" cy="914400"/>
            </a:xfrm>
            <a:prstGeom prst="roundRect">
              <a:avLst>
                <a:gd name="adj" fmla="val 12366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0">
                    <a:schemeClr val="accent3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0078D3"/>
                </a:solidFill>
                <a:effectLst/>
                <a:uLnTx/>
                <a:uFillTx/>
                <a:latin typeface="Segoe Sans Display Semibold" pitchFamily="2" charset="0"/>
                <a:ea typeface="Yu Mincho" panose="02020400000000000000" pitchFamily="18" charset="-128"/>
                <a:cs typeface="Segoe Sans Display Semibold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174BBC9-5CAD-074F-9F6A-5773896091DC}"/>
                </a:ext>
              </a:extLst>
            </p:cNvPr>
            <p:cNvSpPr txBox="1"/>
            <p:nvPr/>
          </p:nvSpPr>
          <p:spPr>
            <a:xfrm>
              <a:off x="3460752" y="4681082"/>
              <a:ext cx="5270494" cy="623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Customize machine learning model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1919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Sans Text" pitchFamily="2" charset="0"/>
                </a:rPr>
                <a:t>Train, deploy, and orchestrate machine learning models tailored to specific business needs––from predictive maintenance to customer sentiment analysis</a:t>
              </a:r>
            </a:p>
          </p:txBody>
        </p:sp>
      </p:grpSp>
      <p:grpSp>
        <p:nvGrpSpPr>
          <p:cNvPr id="32" name="Group 31" descr="Microsoft fabric&#10;Your unified solution for analytics&#10;">
            <a:extLst>
              <a:ext uri="{FF2B5EF4-FFF2-40B4-BE49-F238E27FC236}">
                <a16:creationId xmlns:a16="http://schemas.microsoft.com/office/drawing/2014/main" id="{976573EF-1F52-EB40-401B-1555C0D89534}"/>
              </a:ext>
            </a:extLst>
          </p:cNvPr>
          <p:cNvGrpSpPr/>
          <p:nvPr/>
        </p:nvGrpSpPr>
        <p:grpSpPr>
          <a:xfrm>
            <a:off x="9363437" y="2474383"/>
            <a:ext cx="2011072" cy="2025938"/>
            <a:chOff x="9363437" y="2474383"/>
            <a:chExt cx="2011072" cy="202593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1E1A2E8-FD85-384D-9F27-43B11F00D3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rot="10800000">
              <a:off x="9363437" y="2474383"/>
              <a:ext cx="2011072" cy="2025938"/>
              <a:chOff x="2916271" y="1948466"/>
              <a:chExt cx="2728090" cy="2748255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34DF9B5-0B1B-2A46-8EED-C8A457DA8927}"/>
                  </a:ext>
                </a:extLst>
              </p:cNvPr>
              <p:cNvGrpSpPr/>
              <p:nvPr/>
            </p:nvGrpSpPr>
            <p:grpSpPr>
              <a:xfrm flipH="1">
                <a:off x="2916271" y="1948466"/>
                <a:ext cx="2728090" cy="2748255"/>
                <a:chOff x="8202329" y="1638300"/>
                <a:chExt cx="2537243" cy="2555999"/>
              </a:xfrm>
            </p:grpSpPr>
            <p:sp>
              <p:nvSpPr>
                <p:cNvPr id="14" name="Freeform: Shape 41">
                  <a:extLst>
                    <a:ext uri="{FF2B5EF4-FFF2-40B4-BE49-F238E27FC236}">
                      <a16:creationId xmlns:a16="http://schemas.microsoft.com/office/drawing/2014/main" id="{31A69CD4-1BA4-C743-ADBE-23B116042207}"/>
                    </a:ext>
                  </a:extLst>
                </p:cNvPr>
                <p:cNvSpPr/>
                <p:nvPr/>
              </p:nvSpPr>
              <p:spPr>
                <a:xfrm flipH="1">
                  <a:off x="9461571" y="1638300"/>
                  <a:ext cx="1278001" cy="2555999"/>
                </a:xfrm>
                <a:custGeom>
                  <a:avLst/>
                  <a:gdLst>
                    <a:gd name="connsiteX0" fmla="*/ 1081619 w 1081619"/>
                    <a:gd name="connsiteY0" fmla="*/ 0 h 2163238"/>
                    <a:gd name="connsiteX1" fmla="*/ 1081619 w 1081619"/>
                    <a:gd name="connsiteY1" fmla="*/ 2163238 h 2163238"/>
                    <a:gd name="connsiteX2" fmla="*/ 0 w 1081619"/>
                    <a:gd name="connsiteY2" fmla="*/ 1081619 h 2163238"/>
                    <a:gd name="connsiteX3" fmla="*/ 1081619 w 1081619"/>
                    <a:gd name="connsiteY3" fmla="*/ 0 h 21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1619" h="2163238">
                      <a:moveTo>
                        <a:pt x="1081619" y="0"/>
                      </a:moveTo>
                      <a:lnTo>
                        <a:pt x="1081619" y="2163238"/>
                      </a:lnTo>
                      <a:cubicBezTo>
                        <a:pt x="484257" y="2163238"/>
                        <a:pt x="0" y="1678981"/>
                        <a:pt x="0" y="1081619"/>
                      </a:cubicBezTo>
                      <a:cubicBezTo>
                        <a:pt x="0" y="484257"/>
                        <a:pt x="484257" y="0"/>
                        <a:pt x="1081619" y="0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3"/>
                    </a:gs>
                    <a:gs pos="0">
                      <a:schemeClr val="accent3">
                        <a:lumMod val="50000"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/>
              </p:spPr>
              <p:txBody>
                <a:bodyPr vert="horz" wrap="square" lIns="91440" tIns="91440" rIns="91440" bIns="91440" rtlCol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" name="Arc 14">
                  <a:extLst>
                    <a:ext uri="{FF2B5EF4-FFF2-40B4-BE49-F238E27FC236}">
                      <a16:creationId xmlns:a16="http://schemas.microsoft.com/office/drawing/2014/main" id="{6F0D6B14-8987-EB4F-92F6-A736AF979B60}"/>
                    </a:ext>
                  </a:extLst>
                </p:cNvPr>
                <p:cNvSpPr/>
                <p:nvPr/>
              </p:nvSpPr>
              <p:spPr>
                <a:xfrm flipH="1">
                  <a:off x="8202329" y="1684105"/>
                  <a:ext cx="2464391" cy="2464389"/>
                </a:xfrm>
                <a:prstGeom prst="arc">
                  <a:avLst>
                    <a:gd name="adj1" fmla="val 16434582"/>
                    <a:gd name="adj2" fmla="val 5283850"/>
                  </a:avLst>
                </a:prstGeom>
                <a:ln w="6350">
                  <a:solidFill>
                    <a:schemeClr val="bg1">
                      <a:lumMod val="65000"/>
                      <a:lumOff val="35000"/>
                      <a:alpha val="50000"/>
                    </a:schemeClr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" pitchFamily="34" charset="0"/>
                  </a:endParaRP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F2397DA5-E0BE-244D-AFC1-5C24350854E7}"/>
                  </a:ext>
                </a:extLst>
              </p:cNvPr>
              <p:cNvSpPr/>
              <p:nvPr/>
            </p:nvSpPr>
            <p:spPr>
              <a:xfrm>
                <a:off x="3076695" y="2079801"/>
                <a:ext cx="2485587" cy="2485586"/>
              </a:xfrm>
              <a:prstGeom prst="ellipse">
                <a:avLst/>
              </a:prstGeom>
              <a:solidFill>
                <a:srgbClr val="FCFCFC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235619" dist="38100" dir="2700000" algn="tl" rotWithShape="0">
                  <a:prstClr val="black">
                    <a:alpha val="19837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50" b="0" i="0" u="none" strike="noStrike" kern="1200" cap="none" spc="0" normalizeH="0" baseline="0" noProof="0">
                  <a:ln>
                    <a:noFill/>
                  </a:ln>
                  <a:solidFill>
                    <a:srgbClr val="49C5B1"/>
                  </a:solidFill>
                  <a:effectLst/>
                  <a:uLnTx/>
                  <a:uFillTx/>
                  <a:latin typeface="Segoe Sans Text Semilight"/>
                  <a:ea typeface="+mn-ea"/>
                  <a:cs typeface="Segoe UI" pitchFamily="34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A3BBB59-0614-624E-AA93-11CE1779A7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21036" y="2737608"/>
              <a:ext cx="495880" cy="495880"/>
            </a:xfrm>
            <a:prstGeom prst="rect">
              <a:avLst/>
            </a:prstGeom>
            <a:effectLst/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629BC6E-DADC-324E-BD28-968C3FFB0253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639610" y="3323456"/>
              <a:ext cx="145873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225B61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Microsoft Fabric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B30C36-DB94-904C-BAE6-59AD7158C31C}"/>
                </a:ext>
              </a:extLst>
            </p:cNvPr>
            <p:cNvSpPr txBox="1"/>
            <p:nvPr/>
          </p:nvSpPr>
          <p:spPr>
            <a:xfrm>
              <a:off x="9782700" y="3620042"/>
              <a:ext cx="1172552" cy="4847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light"/>
                  <a:ea typeface="+mn-ea"/>
                  <a:cs typeface="+mn-cs"/>
                </a:rPr>
                <a:t>Your unified solution for analytics</a:t>
              </a:r>
            </a:p>
          </p:txBody>
        </p:sp>
      </p:grpSp>
      <p:grpSp>
        <p:nvGrpSpPr>
          <p:cNvPr id="38" name="Group 37" descr="OneLake serves as the connective tissue to build generative AI apps powered by your data&#10;">
            <a:extLst>
              <a:ext uri="{FF2B5EF4-FFF2-40B4-BE49-F238E27FC236}">
                <a16:creationId xmlns:a16="http://schemas.microsoft.com/office/drawing/2014/main" id="{04CBE106-8935-1DC6-D91F-89B953790C73}"/>
              </a:ext>
            </a:extLst>
          </p:cNvPr>
          <p:cNvGrpSpPr/>
          <p:nvPr/>
        </p:nvGrpSpPr>
        <p:grpSpPr>
          <a:xfrm>
            <a:off x="1" y="5740947"/>
            <a:ext cx="12191999" cy="739742"/>
            <a:chOff x="1" y="5740947"/>
            <a:chExt cx="12191999" cy="739742"/>
          </a:xfrm>
        </p:grpSpPr>
        <p:sp>
          <p:nvSpPr>
            <p:cNvPr id="7" name="Rectangle: Rounded Corners 35" descr="Horizontal scale where Reach is to the left and Power is to the right. In the BLAZOR section, there is a point for Site and PWA&#10;&#10;In the BLAZOR + .NET MAUI section, there is a point for Electron, CEF, and a point for Native App with WebView&#10;&#10;In the .NET MAUI section, there is a point for Native App">
              <a:extLst>
                <a:ext uri="{FF2B5EF4-FFF2-40B4-BE49-F238E27FC236}">
                  <a16:creationId xmlns:a16="http://schemas.microsoft.com/office/drawing/2014/main" id="{48E168C0-9BAF-6545-AC2D-3CE72DBC26EA}"/>
                </a:ext>
              </a:extLst>
            </p:cNvPr>
            <p:cNvSpPr/>
            <p:nvPr/>
          </p:nvSpPr>
          <p:spPr bwMode="auto">
            <a:xfrm>
              <a:off x="1" y="5841293"/>
              <a:ext cx="12191999" cy="529949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0" tIns="146304" rIns="182880" bIns="1828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Text Semilight"/>
                <a:ea typeface="+mn-ea"/>
                <a:cs typeface="+mn-cs"/>
              </a:endParaRPr>
            </a:p>
          </p:txBody>
        </p:sp>
        <p:pic>
          <p:nvPicPr>
            <p:cNvPr id="30" name="Picture 29" descr="OneLake icon">
              <a:extLst>
                <a:ext uri="{FF2B5EF4-FFF2-40B4-BE49-F238E27FC236}">
                  <a16:creationId xmlns:a16="http://schemas.microsoft.com/office/drawing/2014/main" id="{798CFCE3-B00A-6E42-9365-DCEB39A99A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01199" y="5740947"/>
              <a:ext cx="738304" cy="73974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1DB436B-23F0-1745-928A-10D5AD9EA084}"/>
                </a:ext>
              </a:extLst>
            </p:cNvPr>
            <p:cNvSpPr txBox="1"/>
            <p:nvPr/>
          </p:nvSpPr>
          <p:spPr>
            <a:xfrm>
              <a:off x="2418846" y="5998545"/>
              <a:ext cx="8421109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OneLake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Display Semibold" pitchFamily="2" charset="0"/>
                  <a:ea typeface="+mn-ea"/>
                  <a:cs typeface="Segoe Sans Display Semibold" pitchFamily="2" charset="0"/>
                </a:rPr>
                <a:t> serves as the connective tissue to build generative AI apps powered by your data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FACA814-53C6-2F4C-EF6F-3EBADED518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 flipH="1">
            <a:off x="-3862095" y="1676400"/>
            <a:ext cx="7530999" cy="8045450"/>
            <a:chOff x="6727371" y="1309495"/>
            <a:chExt cx="7530999" cy="804545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BA07356-47E3-6F96-28DE-61BDF840997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auto">
            <a:xfrm>
              <a:off x="8614528" y="1309495"/>
              <a:ext cx="5399500" cy="4710545"/>
            </a:xfrm>
            <a:prstGeom prst="ellipse">
              <a:avLst/>
            </a:prstGeom>
            <a:solidFill>
              <a:schemeClr val="accent6">
                <a:alpha val="9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softEdge rad="10541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772B225-D902-9A4D-A13B-D5A1E8EB327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auto">
            <a:xfrm>
              <a:off x="6727371" y="2874303"/>
              <a:ext cx="7530999" cy="6480642"/>
            </a:xfrm>
            <a:prstGeom prst="ellipse">
              <a:avLst/>
            </a:prstGeom>
            <a:solidFill>
              <a:schemeClr val="accent1">
                <a:alpha val="23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reflection endPos="65000" dist="50800" dir="5400000" sy="-100000" algn="bl" rotWithShape="0"/>
              <a:softEdge rad="1270000"/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44918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FE6E9-6F2F-2AC7-165A-EBCA0C87F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0CED51-3D76-6B11-BD39-B1F949B43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Azure AI + Microsoft Fabric</a:t>
            </a:r>
          </a:p>
        </p:txBody>
      </p:sp>
      <p:grpSp>
        <p:nvGrpSpPr>
          <p:cNvPr id="127" name="Group 126" descr="data insights architecture">
            <a:extLst>
              <a:ext uri="{FF2B5EF4-FFF2-40B4-BE49-F238E27FC236}">
                <a16:creationId xmlns:a16="http://schemas.microsoft.com/office/drawing/2014/main" id="{B344666D-338C-8806-8B81-62374C5A9616}"/>
              </a:ext>
            </a:extLst>
          </p:cNvPr>
          <p:cNvGrpSpPr/>
          <p:nvPr/>
        </p:nvGrpSpPr>
        <p:grpSpPr>
          <a:xfrm>
            <a:off x="544011" y="1122451"/>
            <a:ext cx="11213647" cy="5595275"/>
            <a:chOff x="544011" y="1122451"/>
            <a:chExt cx="11213647" cy="5595275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D6B37B8-E2A0-68F5-C347-A6147998D772}"/>
                </a:ext>
              </a:extLst>
            </p:cNvPr>
            <p:cNvSpPr/>
            <p:nvPr/>
          </p:nvSpPr>
          <p:spPr bwMode="auto">
            <a:xfrm>
              <a:off x="6706106" y="6446520"/>
              <a:ext cx="5051552" cy="27120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EBF6EC68-09C0-E9EB-7A71-09E560911F0F}"/>
                </a:ext>
              </a:extLst>
            </p:cNvPr>
            <p:cNvSpPr/>
            <p:nvPr/>
          </p:nvSpPr>
          <p:spPr bwMode="auto">
            <a:xfrm>
              <a:off x="10694222" y="2928396"/>
              <a:ext cx="980390" cy="844950"/>
            </a:xfrm>
            <a:prstGeom prst="roundRect">
              <a:avLst>
                <a:gd name="adj" fmla="val 12945"/>
              </a:avLst>
            </a:prstGeom>
            <a:solidFill>
              <a:schemeClr val="bg1"/>
            </a:solidFill>
            <a:ln w="19050">
              <a:gradFill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2700000" scaled="0"/>
              </a:gra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CA7C8C74-FECE-5D96-CD66-03894600EE6A}"/>
                </a:ext>
              </a:extLst>
            </p:cNvPr>
            <p:cNvSpPr/>
            <p:nvPr/>
          </p:nvSpPr>
          <p:spPr bwMode="auto">
            <a:xfrm>
              <a:off x="8699746" y="1551008"/>
              <a:ext cx="1122659" cy="4479402"/>
            </a:xfrm>
            <a:prstGeom prst="roundRect">
              <a:avLst>
                <a:gd name="adj" fmla="val 7465"/>
              </a:avLst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85E6EC7C-1EC2-7580-CBE4-38AEE59C767E}"/>
                </a:ext>
              </a:extLst>
            </p:cNvPr>
            <p:cNvSpPr/>
            <p:nvPr/>
          </p:nvSpPr>
          <p:spPr bwMode="auto">
            <a:xfrm>
              <a:off x="3841994" y="1551008"/>
              <a:ext cx="2801849" cy="4479402"/>
            </a:xfrm>
            <a:prstGeom prst="roundRect">
              <a:avLst>
                <a:gd name="adj" fmla="val 374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62CACA77-A184-4D4B-A8A2-83B6F24EDD24}"/>
                </a:ext>
              </a:extLst>
            </p:cNvPr>
            <p:cNvSpPr/>
            <p:nvPr/>
          </p:nvSpPr>
          <p:spPr bwMode="auto">
            <a:xfrm>
              <a:off x="544011" y="1551008"/>
              <a:ext cx="1886674" cy="4479402"/>
            </a:xfrm>
            <a:prstGeom prst="roundRect">
              <a:avLst>
                <a:gd name="adj" fmla="val 7465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81CC0364-0154-2C2F-F11F-4268BF741CEA}"/>
                </a:ext>
              </a:extLst>
            </p:cNvPr>
            <p:cNvSpPr/>
            <p:nvPr/>
          </p:nvSpPr>
          <p:spPr bwMode="auto">
            <a:xfrm>
              <a:off x="3919237" y="1632030"/>
              <a:ext cx="2647362" cy="3923818"/>
            </a:xfrm>
            <a:prstGeom prst="roundRect">
              <a:avLst>
                <a:gd name="adj" fmla="val 3622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CBD6AC3E-6D95-DCAD-A2BC-08CCE4152D2C}"/>
                </a:ext>
              </a:extLst>
            </p:cNvPr>
            <p:cNvSpPr/>
            <p:nvPr/>
          </p:nvSpPr>
          <p:spPr bwMode="auto">
            <a:xfrm>
              <a:off x="8775688" y="1632030"/>
              <a:ext cx="970775" cy="4259484"/>
            </a:xfrm>
            <a:prstGeom prst="roundRect">
              <a:avLst>
                <a:gd name="adj" fmla="val 9926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12E87D17-AB23-CE37-98B6-1DD000EAFC8F}"/>
                </a:ext>
              </a:extLst>
            </p:cNvPr>
            <p:cNvSpPr/>
            <p:nvPr/>
          </p:nvSpPr>
          <p:spPr bwMode="auto">
            <a:xfrm>
              <a:off x="826655" y="2012882"/>
              <a:ext cx="1349386" cy="1122744"/>
            </a:xfrm>
            <a:prstGeom prst="roundRect">
              <a:avLst>
                <a:gd name="adj" fmla="val 7465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51AEFACD-F4D0-0EB9-DBCB-C8A7F5EF1378}"/>
                </a:ext>
              </a:extLst>
            </p:cNvPr>
            <p:cNvSpPr/>
            <p:nvPr/>
          </p:nvSpPr>
          <p:spPr bwMode="auto">
            <a:xfrm>
              <a:off x="826655" y="3265522"/>
              <a:ext cx="1349386" cy="1122744"/>
            </a:xfrm>
            <a:prstGeom prst="roundRect">
              <a:avLst>
                <a:gd name="adj" fmla="val 7465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7E803267-9BE6-F755-A0C6-E73BD7AA9988}"/>
                </a:ext>
              </a:extLst>
            </p:cNvPr>
            <p:cNvSpPr/>
            <p:nvPr/>
          </p:nvSpPr>
          <p:spPr bwMode="auto">
            <a:xfrm>
              <a:off x="826655" y="4725393"/>
              <a:ext cx="1349386" cy="1122744"/>
            </a:xfrm>
            <a:prstGeom prst="roundRect">
              <a:avLst>
                <a:gd name="adj" fmla="val 7465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Segoe UI" pitchFamily="34" charset="0"/>
                <a:cs typeface="Segoe Sans Text" pitchFamily="2" charset="0"/>
              </a:endParaRPr>
            </a:p>
          </p:txBody>
        </p:sp>
        <p:pic>
          <p:nvPicPr>
            <p:cNvPr id="4" name="Picture 3" descr="A logo of a letter p&#10;&#10;Description automatically generated">
              <a:extLst>
                <a:ext uri="{FF2B5EF4-FFF2-40B4-BE49-F238E27FC236}">
                  <a16:creationId xmlns:a16="http://schemas.microsoft.com/office/drawing/2014/main" id="{1330175B-2290-C8D3-E3B0-237E4776A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5665" y="5673137"/>
              <a:ext cx="279988" cy="279988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902C5400-A405-C614-33F4-4C5606359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4952165" y="3141352"/>
              <a:ext cx="442794" cy="442794"/>
            </a:xfrm>
            <a:prstGeom prst="rect">
              <a:avLst/>
            </a:prstGeom>
            <a:effectLst/>
          </p:spPr>
        </p:pic>
        <p:pic>
          <p:nvPicPr>
            <p:cNvPr id="6" name="Graphic 5" descr="Azure OpenAI Service logo">
              <a:extLst>
                <a:ext uri="{FF2B5EF4-FFF2-40B4-BE49-F238E27FC236}">
                  <a16:creationId xmlns:a16="http://schemas.microsoft.com/office/drawing/2014/main" id="{6E648113-86EB-631E-0DD9-43C90C709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72909" y="1817126"/>
              <a:ext cx="385160" cy="385158"/>
            </a:xfrm>
            <a:prstGeom prst="rect">
              <a:avLst/>
            </a:prstGeom>
          </p:spPr>
        </p:pic>
        <p:pic>
          <p:nvPicPr>
            <p:cNvPr id="8" name="Picture 7" descr="A yellow and blue lightning bolt&#10;&#10;Description automatically generated">
              <a:extLst>
                <a:ext uri="{FF2B5EF4-FFF2-40B4-BE49-F238E27FC236}">
                  <a16:creationId xmlns:a16="http://schemas.microsoft.com/office/drawing/2014/main" id="{67AAF643-6819-4CCE-65D2-F76C710C2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34149" y="3073186"/>
              <a:ext cx="378232" cy="378230"/>
            </a:xfrm>
            <a:prstGeom prst="rect">
              <a:avLst/>
            </a:prstGeom>
          </p:spPr>
        </p:pic>
        <p:pic>
          <p:nvPicPr>
            <p:cNvPr id="10" name="Picture 9" descr="A blue circle with white circles&#10;&#10;Description automatically generated">
              <a:extLst>
                <a:ext uri="{FF2B5EF4-FFF2-40B4-BE49-F238E27FC236}">
                  <a16:creationId xmlns:a16="http://schemas.microsoft.com/office/drawing/2014/main" id="{711764D9-F01A-8DA4-021F-11CC70645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47240" y="3048467"/>
              <a:ext cx="427670" cy="42766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1ABAEB-C92D-9D9B-18BC-76F40819F4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0113" y="1630022"/>
              <a:ext cx="309158" cy="309763"/>
            </a:xfrm>
            <a:prstGeom prst="rect">
              <a:avLst/>
            </a:prstGeom>
          </p:spPr>
        </p:pic>
        <p:pic>
          <p:nvPicPr>
            <p:cNvPr id="14" name="Graphic 10">
              <a:extLst>
                <a:ext uri="{FF2B5EF4-FFF2-40B4-BE49-F238E27FC236}">
                  <a16:creationId xmlns:a16="http://schemas.microsoft.com/office/drawing/2014/main" id="{FB2E3C94-B625-83BC-6C84-5DF050070F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51193" y="1122451"/>
              <a:ext cx="384466" cy="35075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063CFB2-FB3A-9DA9-1D65-1A447D87F9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302" y="1151524"/>
              <a:ext cx="290651" cy="290651"/>
            </a:xfrm>
            <a:prstGeom prst="rect">
              <a:avLst/>
            </a:prstGeom>
          </p:spPr>
        </p:pic>
        <p:pic>
          <p:nvPicPr>
            <p:cNvPr id="16" name="Graphic 15" descr="Azure OpenAI Service logo">
              <a:extLst>
                <a:ext uri="{FF2B5EF4-FFF2-40B4-BE49-F238E27FC236}">
                  <a16:creationId xmlns:a16="http://schemas.microsoft.com/office/drawing/2014/main" id="{3B76799E-8AB9-0C80-93B8-C442C2930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72909" y="4554220"/>
              <a:ext cx="385160" cy="385158"/>
            </a:xfrm>
            <a:prstGeom prst="rect">
              <a:avLst/>
            </a:prstGeom>
          </p:spPr>
        </p:pic>
        <p:pic>
          <p:nvPicPr>
            <p:cNvPr id="18" name="Picture 17" descr="A yellow rectangular shapes on a black background&#10;&#10;Description automatically generated">
              <a:extLst>
                <a:ext uri="{FF2B5EF4-FFF2-40B4-BE49-F238E27FC236}">
                  <a16:creationId xmlns:a16="http://schemas.microsoft.com/office/drawing/2014/main" id="{51A66D47-E661-D4CC-6C72-75DE6EEBE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054065" y="4936838"/>
              <a:ext cx="414020" cy="414020"/>
            </a:xfrm>
            <a:prstGeom prst="rect">
              <a:avLst/>
            </a:prstGeom>
          </p:spPr>
        </p:pic>
        <p:sp>
          <p:nvSpPr>
            <p:cNvPr id="124" name="Graphic 19">
              <a:extLst>
                <a:ext uri="{FF2B5EF4-FFF2-40B4-BE49-F238E27FC236}">
                  <a16:creationId xmlns:a16="http://schemas.microsoft.com/office/drawing/2014/main" id="{F3A02130-29E6-C736-31E3-19057EF5040A}"/>
                </a:ext>
              </a:extLst>
            </p:cNvPr>
            <p:cNvSpPr/>
            <p:nvPr/>
          </p:nvSpPr>
          <p:spPr>
            <a:xfrm>
              <a:off x="1227040" y="4906502"/>
              <a:ext cx="541656" cy="541656"/>
            </a:xfrm>
            <a:custGeom>
              <a:avLst/>
              <a:gdLst>
                <a:gd name="connsiteX0" fmla="*/ 195598 w 541656"/>
                <a:gd name="connsiteY0" fmla="*/ 541656 h 541656"/>
                <a:gd name="connsiteX1" fmla="*/ 346058 w 541656"/>
                <a:gd name="connsiteY1" fmla="*/ 541656 h 541656"/>
                <a:gd name="connsiteX2" fmla="*/ 346058 w 541656"/>
                <a:gd name="connsiteY2" fmla="*/ 391196 h 541656"/>
                <a:gd name="connsiteX3" fmla="*/ 195598 w 541656"/>
                <a:gd name="connsiteY3" fmla="*/ 391196 h 541656"/>
                <a:gd name="connsiteX4" fmla="*/ 195598 w 541656"/>
                <a:gd name="connsiteY4" fmla="*/ 541656 h 541656"/>
                <a:gd name="connsiteX5" fmla="*/ 391196 w 541656"/>
                <a:gd name="connsiteY5" fmla="*/ 541656 h 541656"/>
                <a:gd name="connsiteX6" fmla="*/ 443857 w 541656"/>
                <a:gd name="connsiteY6" fmla="*/ 541656 h 541656"/>
                <a:gd name="connsiteX7" fmla="*/ 541656 w 541656"/>
                <a:gd name="connsiteY7" fmla="*/ 443857 h 541656"/>
                <a:gd name="connsiteX8" fmla="*/ 541656 w 541656"/>
                <a:gd name="connsiteY8" fmla="*/ 391196 h 541656"/>
                <a:gd name="connsiteX9" fmla="*/ 391196 w 541656"/>
                <a:gd name="connsiteY9" fmla="*/ 391196 h 541656"/>
                <a:gd name="connsiteX10" fmla="*/ 391196 w 541656"/>
                <a:gd name="connsiteY10" fmla="*/ 541656 h 541656"/>
                <a:gd name="connsiteX11" fmla="*/ 541656 w 541656"/>
                <a:gd name="connsiteY11" fmla="*/ 346058 h 541656"/>
                <a:gd name="connsiteX12" fmla="*/ 541656 w 541656"/>
                <a:gd name="connsiteY12" fmla="*/ 195598 h 541656"/>
                <a:gd name="connsiteX13" fmla="*/ 391196 w 541656"/>
                <a:gd name="connsiteY13" fmla="*/ 195598 h 541656"/>
                <a:gd name="connsiteX14" fmla="*/ 391196 w 541656"/>
                <a:gd name="connsiteY14" fmla="*/ 346058 h 541656"/>
                <a:gd name="connsiteX15" fmla="*/ 541656 w 541656"/>
                <a:gd name="connsiteY15" fmla="*/ 346058 h 541656"/>
                <a:gd name="connsiteX16" fmla="*/ 541656 w 541656"/>
                <a:gd name="connsiteY16" fmla="*/ 150460 h 541656"/>
                <a:gd name="connsiteX17" fmla="*/ 541656 w 541656"/>
                <a:gd name="connsiteY17" fmla="*/ 97799 h 541656"/>
                <a:gd name="connsiteX18" fmla="*/ 443857 w 541656"/>
                <a:gd name="connsiteY18" fmla="*/ 0 h 541656"/>
                <a:gd name="connsiteX19" fmla="*/ 391196 w 541656"/>
                <a:gd name="connsiteY19" fmla="*/ 0 h 541656"/>
                <a:gd name="connsiteX20" fmla="*/ 391196 w 541656"/>
                <a:gd name="connsiteY20" fmla="*/ 150460 h 541656"/>
                <a:gd name="connsiteX21" fmla="*/ 541656 w 541656"/>
                <a:gd name="connsiteY21" fmla="*/ 150460 h 541656"/>
                <a:gd name="connsiteX22" fmla="*/ 346058 w 541656"/>
                <a:gd name="connsiteY22" fmla="*/ 0 h 541656"/>
                <a:gd name="connsiteX23" fmla="*/ 195598 w 541656"/>
                <a:gd name="connsiteY23" fmla="*/ 0 h 541656"/>
                <a:gd name="connsiteX24" fmla="*/ 195598 w 541656"/>
                <a:gd name="connsiteY24" fmla="*/ 150460 h 541656"/>
                <a:gd name="connsiteX25" fmla="*/ 346058 w 541656"/>
                <a:gd name="connsiteY25" fmla="*/ 150460 h 541656"/>
                <a:gd name="connsiteX26" fmla="*/ 346058 w 541656"/>
                <a:gd name="connsiteY26" fmla="*/ 0 h 541656"/>
                <a:gd name="connsiteX27" fmla="*/ 150460 w 541656"/>
                <a:gd name="connsiteY27" fmla="*/ 0 h 541656"/>
                <a:gd name="connsiteX28" fmla="*/ 97799 w 541656"/>
                <a:gd name="connsiteY28" fmla="*/ 0 h 541656"/>
                <a:gd name="connsiteX29" fmla="*/ 0 w 541656"/>
                <a:gd name="connsiteY29" fmla="*/ 97799 h 541656"/>
                <a:gd name="connsiteX30" fmla="*/ 0 w 541656"/>
                <a:gd name="connsiteY30" fmla="*/ 150460 h 541656"/>
                <a:gd name="connsiteX31" fmla="*/ 150460 w 541656"/>
                <a:gd name="connsiteY31" fmla="*/ 150460 h 541656"/>
                <a:gd name="connsiteX32" fmla="*/ 150460 w 541656"/>
                <a:gd name="connsiteY32" fmla="*/ 0 h 541656"/>
                <a:gd name="connsiteX33" fmla="*/ 0 w 541656"/>
                <a:gd name="connsiteY33" fmla="*/ 195598 h 541656"/>
                <a:gd name="connsiteX34" fmla="*/ 0 w 541656"/>
                <a:gd name="connsiteY34" fmla="*/ 346058 h 541656"/>
                <a:gd name="connsiteX35" fmla="*/ 150460 w 541656"/>
                <a:gd name="connsiteY35" fmla="*/ 346058 h 541656"/>
                <a:gd name="connsiteX36" fmla="*/ 150460 w 541656"/>
                <a:gd name="connsiteY36" fmla="*/ 195598 h 541656"/>
                <a:gd name="connsiteX37" fmla="*/ 0 w 541656"/>
                <a:gd name="connsiteY37" fmla="*/ 195598 h 541656"/>
                <a:gd name="connsiteX38" fmla="*/ 0 w 541656"/>
                <a:gd name="connsiteY38" fmla="*/ 391196 h 541656"/>
                <a:gd name="connsiteX39" fmla="*/ 0 w 541656"/>
                <a:gd name="connsiteY39" fmla="*/ 443857 h 541656"/>
                <a:gd name="connsiteX40" fmla="*/ 97799 w 541656"/>
                <a:gd name="connsiteY40" fmla="*/ 541656 h 541656"/>
                <a:gd name="connsiteX41" fmla="*/ 150460 w 541656"/>
                <a:gd name="connsiteY41" fmla="*/ 541656 h 541656"/>
                <a:gd name="connsiteX42" fmla="*/ 150460 w 541656"/>
                <a:gd name="connsiteY42" fmla="*/ 391196 h 541656"/>
                <a:gd name="connsiteX43" fmla="*/ 0 w 541656"/>
                <a:gd name="connsiteY43" fmla="*/ 391196 h 541656"/>
                <a:gd name="connsiteX44" fmla="*/ 346058 w 541656"/>
                <a:gd name="connsiteY44" fmla="*/ 195598 h 541656"/>
                <a:gd name="connsiteX45" fmla="*/ 346058 w 541656"/>
                <a:gd name="connsiteY45" fmla="*/ 346058 h 541656"/>
                <a:gd name="connsiteX46" fmla="*/ 195598 w 541656"/>
                <a:gd name="connsiteY46" fmla="*/ 346058 h 541656"/>
                <a:gd name="connsiteX47" fmla="*/ 195598 w 541656"/>
                <a:gd name="connsiteY47" fmla="*/ 195598 h 541656"/>
                <a:gd name="connsiteX48" fmla="*/ 346058 w 541656"/>
                <a:gd name="connsiteY48" fmla="*/ 195598 h 54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541656" h="541656">
                  <a:moveTo>
                    <a:pt x="195598" y="541656"/>
                  </a:moveTo>
                  <a:lnTo>
                    <a:pt x="346058" y="541656"/>
                  </a:lnTo>
                  <a:lnTo>
                    <a:pt x="346058" y="391196"/>
                  </a:lnTo>
                  <a:lnTo>
                    <a:pt x="195598" y="391196"/>
                  </a:lnTo>
                  <a:lnTo>
                    <a:pt x="195598" y="541656"/>
                  </a:lnTo>
                  <a:close/>
                  <a:moveTo>
                    <a:pt x="391196" y="541656"/>
                  </a:moveTo>
                  <a:lnTo>
                    <a:pt x="443857" y="541656"/>
                  </a:lnTo>
                  <a:cubicBezTo>
                    <a:pt x="497722" y="541656"/>
                    <a:pt x="541656" y="497722"/>
                    <a:pt x="541656" y="443857"/>
                  </a:cubicBezTo>
                  <a:lnTo>
                    <a:pt x="541656" y="391196"/>
                  </a:lnTo>
                  <a:lnTo>
                    <a:pt x="391196" y="391196"/>
                  </a:lnTo>
                  <a:lnTo>
                    <a:pt x="391196" y="541656"/>
                  </a:lnTo>
                  <a:close/>
                  <a:moveTo>
                    <a:pt x="541656" y="346058"/>
                  </a:moveTo>
                  <a:lnTo>
                    <a:pt x="541656" y="195598"/>
                  </a:lnTo>
                  <a:lnTo>
                    <a:pt x="391196" y="195598"/>
                  </a:lnTo>
                  <a:lnTo>
                    <a:pt x="391196" y="346058"/>
                  </a:lnTo>
                  <a:lnTo>
                    <a:pt x="541656" y="346058"/>
                  </a:lnTo>
                  <a:close/>
                  <a:moveTo>
                    <a:pt x="541656" y="150460"/>
                  </a:moveTo>
                  <a:lnTo>
                    <a:pt x="541656" y="97799"/>
                  </a:lnTo>
                  <a:cubicBezTo>
                    <a:pt x="541656" y="43934"/>
                    <a:pt x="497722" y="0"/>
                    <a:pt x="443857" y="0"/>
                  </a:cubicBezTo>
                  <a:lnTo>
                    <a:pt x="391196" y="0"/>
                  </a:lnTo>
                  <a:lnTo>
                    <a:pt x="391196" y="150460"/>
                  </a:lnTo>
                  <a:lnTo>
                    <a:pt x="541656" y="150460"/>
                  </a:lnTo>
                  <a:close/>
                  <a:moveTo>
                    <a:pt x="346058" y="0"/>
                  </a:moveTo>
                  <a:lnTo>
                    <a:pt x="195598" y="0"/>
                  </a:lnTo>
                  <a:lnTo>
                    <a:pt x="195598" y="150460"/>
                  </a:lnTo>
                  <a:lnTo>
                    <a:pt x="346058" y="150460"/>
                  </a:lnTo>
                  <a:lnTo>
                    <a:pt x="346058" y="0"/>
                  </a:lnTo>
                  <a:close/>
                  <a:moveTo>
                    <a:pt x="150460" y="0"/>
                  </a:moveTo>
                  <a:lnTo>
                    <a:pt x="97799" y="0"/>
                  </a:lnTo>
                  <a:cubicBezTo>
                    <a:pt x="43934" y="0"/>
                    <a:pt x="0" y="43934"/>
                    <a:pt x="0" y="97799"/>
                  </a:cubicBezTo>
                  <a:lnTo>
                    <a:pt x="0" y="150460"/>
                  </a:lnTo>
                  <a:lnTo>
                    <a:pt x="150460" y="150460"/>
                  </a:lnTo>
                  <a:lnTo>
                    <a:pt x="150460" y="0"/>
                  </a:lnTo>
                  <a:close/>
                  <a:moveTo>
                    <a:pt x="0" y="195598"/>
                  </a:moveTo>
                  <a:lnTo>
                    <a:pt x="0" y="346058"/>
                  </a:lnTo>
                  <a:lnTo>
                    <a:pt x="150460" y="346058"/>
                  </a:lnTo>
                  <a:lnTo>
                    <a:pt x="150460" y="195598"/>
                  </a:lnTo>
                  <a:lnTo>
                    <a:pt x="0" y="195598"/>
                  </a:lnTo>
                  <a:close/>
                  <a:moveTo>
                    <a:pt x="0" y="391196"/>
                  </a:moveTo>
                  <a:lnTo>
                    <a:pt x="0" y="443857"/>
                  </a:lnTo>
                  <a:cubicBezTo>
                    <a:pt x="0" y="497722"/>
                    <a:pt x="43934" y="541656"/>
                    <a:pt x="97799" y="541656"/>
                  </a:cubicBezTo>
                  <a:lnTo>
                    <a:pt x="150460" y="541656"/>
                  </a:lnTo>
                  <a:lnTo>
                    <a:pt x="150460" y="391196"/>
                  </a:lnTo>
                  <a:lnTo>
                    <a:pt x="0" y="391196"/>
                  </a:lnTo>
                  <a:close/>
                  <a:moveTo>
                    <a:pt x="346058" y="195598"/>
                  </a:moveTo>
                  <a:lnTo>
                    <a:pt x="346058" y="346058"/>
                  </a:lnTo>
                  <a:lnTo>
                    <a:pt x="195598" y="346058"/>
                  </a:lnTo>
                  <a:lnTo>
                    <a:pt x="195598" y="195598"/>
                  </a:lnTo>
                  <a:lnTo>
                    <a:pt x="346058" y="195598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A68230D-7CDB-AD32-31E6-03274A081DF6}"/>
                </a:ext>
              </a:extLst>
            </p:cNvPr>
            <p:cNvSpPr/>
            <p:nvPr/>
          </p:nvSpPr>
          <p:spPr>
            <a:xfrm>
              <a:off x="1257132" y="3392956"/>
              <a:ext cx="481472" cy="601840"/>
            </a:xfrm>
            <a:custGeom>
              <a:avLst/>
              <a:gdLst>
                <a:gd name="connsiteX0" fmla="*/ 240736 w 481472"/>
                <a:gd name="connsiteY0" fmla="*/ 0 h 601840"/>
                <a:gd name="connsiteX1" fmla="*/ 240736 w 481472"/>
                <a:gd name="connsiteY1" fmla="*/ 180552 h 601840"/>
                <a:gd name="connsiteX2" fmla="*/ 300920 w 481472"/>
                <a:gd name="connsiteY2" fmla="*/ 240736 h 601840"/>
                <a:gd name="connsiteX3" fmla="*/ 481472 w 481472"/>
                <a:gd name="connsiteY3" fmla="*/ 240736 h 601840"/>
                <a:gd name="connsiteX4" fmla="*/ 481472 w 481472"/>
                <a:gd name="connsiteY4" fmla="*/ 541656 h 601840"/>
                <a:gd name="connsiteX5" fmla="*/ 421288 w 481472"/>
                <a:gd name="connsiteY5" fmla="*/ 601840 h 601840"/>
                <a:gd name="connsiteX6" fmla="*/ 60184 w 481472"/>
                <a:gd name="connsiteY6" fmla="*/ 601840 h 601840"/>
                <a:gd name="connsiteX7" fmla="*/ 0 w 481472"/>
                <a:gd name="connsiteY7" fmla="*/ 541656 h 601840"/>
                <a:gd name="connsiteX8" fmla="*/ 0 w 481472"/>
                <a:gd name="connsiteY8" fmla="*/ 60184 h 601840"/>
                <a:gd name="connsiteX9" fmla="*/ 60184 w 481472"/>
                <a:gd name="connsiteY9" fmla="*/ 0 h 601840"/>
                <a:gd name="connsiteX10" fmla="*/ 240736 w 481472"/>
                <a:gd name="connsiteY10" fmla="*/ 0 h 60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1472" h="601840">
                  <a:moveTo>
                    <a:pt x="240736" y="0"/>
                  </a:moveTo>
                  <a:lnTo>
                    <a:pt x="240736" y="180552"/>
                  </a:lnTo>
                  <a:cubicBezTo>
                    <a:pt x="240736" y="213653"/>
                    <a:pt x="267819" y="240736"/>
                    <a:pt x="300920" y="240736"/>
                  </a:cubicBezTo>
                  <a:lnTo>
                    <a:pt x="481472" y="240736"/>
                  </a:lnTo>
                  <a:lnTo>
                    <a:pt x="481472" y="541656"/>
                  </a:lnTo>
                  <a:cubicBezTo>
                    <a:pt x="481472" y="574757"/>
                    <a:pt x="454389" y="601840"/>
                    <a:pt x="421288" y="601840"/>
                  </a:cubicBezTo>
                  <a:lnTo>
                    <a:pt x="60184" y="601840"/>
                  </a:lnTo>
                  <a:cubicBezTo>
                    <a:pt x="27083" y="601840"/>
                    <a:pt x="0" y="574757"/>
                    <a:pt x="0" y="541656"/>
                  </a:cubicBezTo>
                  <a:lnTo>
                    <a:pt x="0" y="60184"/>
                  </a:lnTo>
                  <a:cubicBezTo>
                    <a:pt x="0" y="27083"/>
                    <a:pt x="27083" y="0"/>
                    <a:pt x="60184" y="0"/>
                  </a:cubicBezTo>
                  <a:lnTo>
                    <a:pt x="240736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87664A04-8224-F2EE-F6EF-D55A170C7C80}"/>
                </a:ext>
              </a:extLst>
            </p:cNvPr>
            <p:cNvSpPr/>
            <p:nvPr/>
          </p:nvSpPr>
          <p:spPr>
            <a:xfrm>
              <a:off x="1543006" y="3408002"/>
              <a:ext cx="180552" cy="180552"/>
            </a:xfrm>
            <a:custGeom>
              <a:avLst/>
              <a:gdLst>
                <a:gd name="connsiteX0" fmla="*/ 0 w 180552"/>
                <a:gd name="connsiteY0" fmla="*/ 0 h 180552"/>
                <a:gd name="connsiteX1" fmla="*/ 0 w 180552"/>
                <a:gd name="connsiteY1" fmla="*/ 165506 h 180552"/>
                <a:gd name="connsiteX2" fmla="*/ 15046 w 180552"/>
                <a:gd name="connsiteY2" fmla="*/ 180552 h 180552"/>
                <a:gd name="connsiteX3" fmla="*/ 180552 w 180552"/>
                <a:gd name="connsiteY3" fmla="*/ 180552 h 180552"/>
                <a:gd name="connsiteX4" fmla="*/ 0 w 180552"/>
                <a:gd name="connsiteY4" fmla="*/ 0 h 18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552" h="180552">
                  <a:moveTo>
                    <a:pt x="0" y="0"/>
                  </a:moveTo>
                  <a:lnTo>
                    <a:pt x="0" y="165506"/>
                  </a:lnTo>
                  <a:cubicBezTo>
                    <a:pt x="0" y="173932"/>
                    <a:pt x="6620" y="180552"/>
                    <a:pt x="15046" y="180552"/>
                  </a:cubicBezTo>
                  <a:lnTo>
                    <a:pt x="180552" y="18055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20" name="Graphic 23">
              <a:extLst>
                <a:ext uri="{FF2B5EF4-FFF2-40B4-BE49-F238E27FC236}">
                  <a16:creationId xmlns:a16="http://schemas.microsoft.com/office/drawing/2014/main" id="{B35CD70B-ED42-0051-F228-29BE1803C854}"/>
                </a:ext>
              </a:extLst>
            </p:cNvPr>
            <p:cNvSpPr/>
            <p:nvPr/>
          </p:nvSpPr>
          <p:spPr>
            <a:xfrm>
              <a:off x="1166937" y="2234850"/>
              <a:ext cx="661863" cy="529490"/>
            </a:xfrm>
            <a:custGeom>
              <a:avLst/>
              <a:gdLst>
                <a:gd name="connsiteX0" fmla="*/ 140646 w 661863"/>
                <a:gd name="connsiteY0" fmla="*/ 281292 h 529490"/>
                <a:gd name="connsiteX1" fmla="*/ 99279 w 661863"/>
                <a:gd name="connsiteY1" fmla="*/ 322658 h 529490"/>
                <a:gd name="connsiteX2" fmla="*/ 99279 w 661863"/>
                <a:gd name="connsiteY2" fmla="*/ 388844 h 529490"/>
                <a:gd name="connsiteX3" fmla="*/ 140646 w 661863"/>
                <a:gd name="connsiteY3" fmla="*/ 430211 h 529490"/>
                <a:gd name="connsiteX4" fmla="*/ 273019 w 661863"/>
                <a:gd name="connsiteY4" fmla="*/ 430211 h 529490"/>
                <a:gd name="connsiteX5" fmla="*/ 314385 w 661863"/>
                <a:gd name="connsiteY5" fmla="*/ 388844 h 529490"/>
                <a:gd name="connsiteX6" fmla="*/ 314385 w 661863"/>
                <a:gd name="connsiteY6" fmla="*/ 322658 h 529490"/>
                <a:gd name="connsiteX7" fmla="*/ 273019 w 661863"/>
                <a:gd name="connsiteY7" fmla="*/ 281292 h 529490"/>
                <a:gd name="connsiteX8" fmla="*/ 140646 w 661863"/>
                <a:gd name="connsiteY8" fmla="*/ 281292 h 529490"/>
                <a:gd name="connsiteX9" fmla="*/ 388845 w 661863"/>
                <a:gd name="connsiteY9" fmla="*/ 281292 h 529490"/>
                <a:gd name="connsiteX10" fmla="*/ 347478 w 661863"/>
                <a:gd name="connsiteY10" fmla="*/ 322658 h 529490"/>
                <a:gd name="connsiteX11" fmla="*/ 347478 w 661863"/>
                <a:gd name="connsiteY11" fmla="*/ 388844 h 529490"/>
                <a:gd name="connsiteX12" fmla="*/ 388845 w 661863"/>
                <a:gd name="connsiteY12" fmla="*/ 430211 h 529490"/>
                <a:gd name="connsiteX13" fmla="*/ 521217 w 661863"/>
                <a:gd name="connsiteY13" fmla="*/ 430211 h 529490"/>
                <a:gd name="connsiteX14" fmla="*/ 562584 w 661863"/>
                <a:gd name="connsiteY14" fmla="*/ 388844 h 529490"/>
                <a:gd name="connsiteX15" fmla="*/ 562584 w 661863"/>
                <a:gd name="connsiteY15" fmla="*/ 322658 h 529490"/>
                <a:gd name="connsiteX16" fmla="*/ 521217 w 661863"/>
                <a:gd name="connsiteY16" fmla="*/ 281292 h 529490"/>
                <a:gd name="connsiteX17" fmla="*/ 388845 w 661863"/>
                <a:gd name="connsiteY17" fmla="*/ 281292 h 529490"/>
                <a:gd name="connsiteX18" fmla="*/ 140646 w 661863"/>
                <a:gd name="connsiteY18" fmla="*/ 99279 h 529490"/>
                <a:gd name="connsiteX19" fmla="*/ 99279 w 661863"/>
                <a:gd name="connsiteY19" fmla="*/ 140646 h 529490"/>
                <a:gd name="connsiteX20" fmla="*/ 99279 w 661863"/>
                <a:gd name="connsiteY20" fmla="*/ 206832 h 529490"/>
                <a:gd name="connsiteX21" fmla="*/ 140646 w 661863"/>
                <a:gd name="connsiteY21" fmla="*/ 248198 h 529490"/>
                <a:gd name="connsiteX22" fmla="*/ 273019 w 661863"/>
                <a:gd name="connsiteY22" fmla="*/ 248198 h 529490"/>
                <a:gd name="connsiteX23" fmla="*/ 314385 w 661863"/>
                <a:gd name="connsiteY23" fmla="*/ 206832 h 529490"/>
                <a:gd name="connsiteX24" fmla="*/ 314385 w 661863"/>
                <a:gd name="connsiteY24" fmla="*/ 140646 h 529490"/>
                <a:gd name="connsiteX25" fmla="*/ 273019 w 661863"/>
                <a:gd name="connsiteY25" fmla="*/ 99279 h 529490"/>
                <a:gd name="connsiteX26" fmla="*/ 140646 w 661863"/>
                <a:gd name="connsiteY26" fmla="*/ 99279 h 529490"/>
                <a:gd name="connsiteX27" fmla="*/ 388845 w 661863"/>
                <a:gd name="connsiteY27" fmla="*/ 99279 h 529490"/>
                <a:gd name="connsiteX28" fmla="*/ 347478 w 661863"/>
                <a:gd name="connsiteY28" fmla="*/ 140646 h 529490"/>
                <a:gd name="connsiteX29" fmla="*/ 347478 w 661863"/>
                <a:gd name="connsiteY29" fmla="*/ 206832 h 529490"/>
                <a:gd name="connsiteX30" fmla="*/ 388845 w 661863"/>
                <a:gd name="connsiteY30" fmla="*/ 248198 h 529490"/>
                <a:gd name="connsiteX31" fmla="*/ 521217 w 661863"/>
                <a:gd name="connsiteY31" fmla="*/ 248198 h 529490"/>
                <a:gd name="connsiteX32" fmla="*/ 562584 w 661863"/>
                <a:gd name="connsiteY32" fmla="*/ 206832 h 529490"/>
                <a:gd name="connsiteX33" fmla="*/ 562584 w 661863"/>
                <a:gd name="connsiteY33" fmla="*/ 140646 h 529490"/>
                <a:gd name="connsiteX34" fmla="*/ 521217 w 661863"/>
                <a:gd name="connsiteY34" fmla="*/ 99279 h 529490"/>
                <a:gd name="connsiteX35" fmla="*/ 388845 w 661863"/>
                <a:gd name="connsiteY35" fmla="*/ 99279 h 529490"/>
                <a:gd name="connsiteX36" fmla="*/ 0 w 661863"/>
                <a:gd name="connsiteY36" fmla="*/ 91006 h 529490"/>
                <a:gd name="connsiteX37" fmla="*/ 91006 w 661863"/>
                <a:gd name="connsiteY37" fmla="*/ 0 h 529490"/>
                <a:gd name="connsiteX38" fmla="*/ 570857 w 661863"/>
                <a:gd name="connsiteY38" fmla="*/ 0 h 529490"/>
                <a:gd name="connsiteX39" fmla="*/ 661863 w 661863"/>
                <a:gd name="connsiteY39" fmla="*/ 91006 h 529490"/>
                <a:gd name="connsiteX40" fmla="*/ 661863 w 661863"/>
                <a:gd name="connsiteY40" fmla="*/ 438484 h 529490"/>
                <a:gd name="connsiteX41" fmla="*/ 570857 w 661863"/>
                <a:gd name="connsiteY41" fmla="*/ 529490 h 529490"/>
                <a:gd name="connsiteX42" fmla="*/ 91006 w 661863"/>
                <a:gd name="connsiteY42" fmla="*/ 529490 h 529490"/>
                <a:gd name="connsiteX43" fmla="*/ 0 w 661863"/>
                <a:gd name="connsiteY43" fmla="*/ 438484 h 529490"/>
                <a:gd name="connsiteX44" fmla="*/ 0 w 661863"/>
                <a:gd name="connsiteY44" fmla="*/ 91006 h 529490"/>
                <a:gd name="connsiteX45" fmla="*/ 91006 w 661863"/>
                <a:gd name="connsiteY45" fmla="*/ 49640 h 529490"/>
                <a:gd name="connsiteX46" fmla="*/ 49640 w 661863"/>
                <a:gd name="connsiteY46" fmla="*/ 91006 h 529490"/>
                <a:gd name="connsiteX47" fmla="*/ 49640 w 661863"/>
                <a:gd name="connsiteY47" fmla="*/ 438484 h 529490"/>
                <a:gd name="connsiteX48" fmla="*/ 91006 w 661863"/>
                <a:gd name="connsiteY48" fmla="*/ 479850 h 529490"/>
                <a:gd name="connsiteX49" fmla="*/ 570857 w 661863"/>
                <a:gd name="connsiteY49" fmla="*/ 479850 h 529490"/>
                <a:gd name="connsiteX50" fmla="*/ 612223 w 661863"/>
                <a:gd name="connsiteY50" fmla="*/ 438484 h 529490"/>
                <a:gd name="connsiteX51" fmla="*/ 612223 w 661863"/>
                <a:gd name="connsiteY51" fmla="*/ 91006 h 529490"/>
                <a:gd name="connsiteX52" fmla="*/ 570857 w 661863"/>
                <a:gd name="connsiteY52" fmla="*/ 49640 h 529490"/>
                <a:gd name="connsiteX53" fmla="*/ 91006 w 661863"/>
                <a:gd name="connsiteY53" fmla="*/ 49640 h 52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1863" h="529490">
                  <a:moveTo>
                    <a:pt x="140646" y="281292"/>
                  </a:moveTo>
                  <a:cubicBezTo>
                    <a:pt x="117812" y="281292"/>
                    <a:pt x="99279" y="299824"/>
                    <a:pt x="99279" y="322658"/>
                  </a:cubicBezTo>
                  <a:lnTo>
                    <a:pt x="99279" y="388844"/>
                  </a:lnTo>
                  <a:cubicBezTo>
                    <a:pt x="99279" y="411678"/>
                    <a:pt x="117812" y="430211"/>
                    <a:pt x="140646" y="430211"/>
                  </a:cubicBezTo>
                  <a:lnTo>
                    <a:pt x="273019" y="430211"/>
                  </a:lnTo>
                  <a:cubicBezTo>
                    <a:pt x="295853" y="430211"/>
                    <a:pt x="314385" y="411678"/>
                    <a:pt x="314385" y="388844"/>
                  </a:cubicBezTo>
                  <a:lnTo>
                    <a:pt x="314385" y="322658"/>
                  </a:lnTo>
                  <a:cubicBezTo>
                    <a:pt x="314385" y="299824"/>
                    <a:pt x="295853" y="281292"/>
                    <a:pt x="273019" y="281292"/>
                  </a:cubicBezTo>
                  <a:lnTo>
                    <a:pt x="140646" y="281292"/>
                  </a:lnTo>
                  <a:close/>
                  <a:moveTo>
                    <a:pt x="388845" y="281292"/>
                  </a:moveTo>
                  <a:cubicBezTo>
                    <a:pt x="366010" y="281292"/>
                    <a:pt x="347478" y="299824"/>
                    <a:pt x="347478" y="322658"/>
                  </a:cubicBezTo>
                  <a:lnTo>
                    <a:pt x="347478" y="388844"/>
                  </a:lnTo>
                  <a:cubicBezTo>
                    <a:pt x="347478" y="411678"/>
                    <a:pt x="366010" y="430211"/>
                    <a:pt x="388845" y="430211"/>
                  </a:cubicBezTo>
                  <a:lnTo>
                    <a:pt x="521217" y="430211"/>
                  </a:lnTo>
                  <a:cubicBezTo>
                    <a:pt x="544051" y="430211"/>
                    <a:pt x="562584" y="411678"/>
                    <a:pt x="562584" y="388844"/>
                  </a:cubicBezTo>
                  <a:lnTo>
                    <a:pt x="562584" y="322658"/>
                  </a:lnTo>
                  <a:cubicBezTo>
                    <a:pt x="562584" y="299824"/>
                    <a:pt x="544051" y="281292"/>
                    <a:pt x="521217" y="281292"/>
                  </a:cubicBezTo>
                  <a:lnTo>
                    <a:pt x="388845" y="281292"/>
                  </a:lnTo>
                  <a:close/>
                  <a:moveTo>
                    <a:pt x="140646" y="99279"/>
                  </a:moveTo>
                  <a:cubicBezTo>
                    <a:pt x="117812" y="99279"/>
                    <a:pt x="99279" y="117812"/>
                    <a:pt x="99279" y="140646"/>
                  </a:cubicBezTo>
                  <a:lnTo>
                    <a:pt x="99279" y="206832"/>
                  </a:lnTo>
                  <a:cubicBezTo>
                    <a:pt x="99279" y="229666"/>
                    <a:pt x="117812" y="248198"/>
                    <a:pt x="140646" y="248198"/>
                  </a:cubicBezTo>
                  <a:lnTo>
                    <a:pt x="273019" y="248198"/>
                  </a:lnTo>
                  <a:cubicBezTo>
                    <a:pt x="295853" y="248198"/>
                    <a:pt x="314385" y="229666"/>
                    <a:pt x="314385" y="206832"/>
                  </a:cubicBezTo>
                  <a:lnTo>
                    <a:pt x="314385" y="140646"/>
                  </a:lnTo>
                  <a:cubicBezTo>
                    <a:pt x="314385" y="117812"/>
                    <a:pt x="295853" y="99279"/>
                    <a:pt x="273019" y="99279"/>
                  </a:cubicBezTo>
                  <a:lnTo>
                    <a:pt x="140646" y="99279"/>
                  </a:lnTo>
                  <a:close/>
                  <a:moveTo>
                    <a:pt x="388845" y="99279"/>
                  </a:moveTo>
                  <a:cubicBezTo>
                    <a:pt x="366010" y="99279"/>
                    <a:pt x="347478" y="117812"/>
                    <a:pt x="347478" y="140646"/>
                  </a:cubicBezTo>
                  <a:lnTo>
                    <a:pt x="347478" y="206832"/>
                  </a:lnTo>
                  <a:cubicBezTo>
                    <a:pt x="347478" y="229666"/>
                    <a:pt x="366010" y="248198"/>
                    <a:pt x="388845" y="248198"/>
                  </a:cubicBezTo>
                  <a:lnTo>
                    <a:pt x="521217" y="248198"/>
                  </a:lnTo>
                  <a:cubicBezTo>
                    <a:pt x="544051" y="248198"/>
                    <a:pt x="562584" y="229666"/>
                    <a:pt x="562584" y="206832"/>
                  </a:cubicBezTo>
                  <a:lnTo>
                    <a:pt x="562584" y="140646"/>
                  </a:lnTo>
                  <a:cubicBezTo>
                    <a:pt x="562584" y="117812"/>
                    <a:pt x="544051" y="99279"/>
                    <a:pt x="521217" y="99279"/>
                  </a:cubicBezTo>
                  <a:lnTo>
                    <a:pt x="388845" y="99279"/>
                  </a:lnTo>
                  <a:close/>
                  <a:moveTo>
                    <a:pt x="0" y="91006"/>
                  </a:moveTo>
                  <a:cubicBezTo>
                    <a:pt x="0" y="40705"/>
                    <a:pt x="40705" y="0"/>
                    <a:pt x="91006" y="0"/>
                  </a:cubicBezTo>
                  <a:lnTo>
                    <a:pt x="570857" y="0"/>
                  </a:lnTo>
                  <a:cubicBezTo>
                    <a:pt x="621158" y="0"/>
                    <a:pt x="661863" y="40705"/>
                    <a:pt x="661863" y="91006"/>
                  </a:cubicBezTo>
                  <a:lnTo>
                    <a:pt x="661863" y="438484"/>
                  </a:lnTo>
                  <a:cubicBezTo>
                    <a:pt x="661863" y="488785"/>
                    <a:pt x="621158" y="529490"/>
                    <a:pt x="570857" y="529490"/>
                  </a:cubicBezTo>
                  <a:lnTo>
                    <a:pt x="91006" y="529490"/>
                  </a:lnTo>
                  <a:cubicBezTo>
                    <a:pt x="40705" y="529490"/>
                    <a:pt x="0" y="488785"/>
                    <a:pt x="0" y="438484"/>
                  </a:cubicBezTo>
                  <a:lnTo>
                    <a:pt x="0" y="91006"/>
                  </a:lnTo>
                  <a:close/>
                  <a:moveTo>
                    <a:pt x="91006" y="49640"/>
                  </a:moveTo>
                  <a:cubicBezTo>
                    <a:pt x="68172" y="49640"/>
                    <a:pt x="49640" y="68172"/>
                    <a:pt x="49640" y="91006"/>
                  </a:cubicBezTo>
                  <a:lnTo>
                    <a:pt x="49640" y="438484"/>
                  </a:lnTo>
                  <a:cubicBezTo>
                    <a:pt x="49640" y="461318"/>
                    <a:pt x="68172" y="479850"/>
                    <a:pt x="91006" y="479850"/>
                  </a:cubicBezTo>
                  <a:lnTo>
                    <a:pt x="570857" y="479850"/>
                  </a:lnTo>
                  <a:cubicBezTo>
                    <a:pt x="593691" y="479850"/>
                    <a:pt x="612223" y="461318"/>
                    <a:pt x="612223" y="438484"/>
                  </a:cubicBezTo>
                  <a:lnTo>
                    <a:pt x="612223" y="91006"/>
                  </a:lnTo>
                  <a:cubicBezTo>
                    <a:pt x="612223" y="68172"/>
                    <a:pt x="593691" y="49640"/>
                    <a:pt x="570857" y="49640"/>
                  </a:cubicBezTo>
                  <a:lnTo>
                    <a:pt x="91006" y="4964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3455DC4-93C3-CAAD-0330-199123869AF9}"/>
                </a:ext>
              </a:extLst>
            </p:cNvPr>
            <p:cNvSpPr txBox="1"/>
            <p:nvPr/>
          </p:nvSpPr>
          <p:spPr>
            <a:xfrm>
              <a:off x="1018573" y="1169044"/>
              <a:ext cx="132190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Microsoft Fabric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8B8A6BD-8F5E-8EBA-439F-A869F3AC6113}"/>
                </a:ext>
              </a:extLst>
            </p:cNvPr>
            <p:cNvSpPr txBox="1"/>
            <p:nvPr/>
          </p:nvSpPr>
          <p:spPr>
            <a:xfrm>
              <a:off x="4804109" y="1169044"/>
              <a:ext cx="127541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Azure AI Studio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52BB5B6-DB68-9AF9-76F3-85DC1962DC3A}"/>
                </a:ext>
              </a:extLst>
            </p:cNvPr>
            <p:cNvSpPr txBox="1"/>
            <p:nvPr/>
          </p:nvSpPr>
          <p:spPr>
            <a:xfrm>
              <a:off x="4890371" y="5711017"/>
              <a:ext cx="104451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Prompt Flow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5323232-4925-50B4-0E6B-519D37541AA1}"/>
                </a:ext>
              </a:extLst>
            </p:cNvPr>
            <p:cNvSpPr txBox="1"/>
            <p:nvPr/>
          </p:nvSpPr>
          <p:spPr>
            <a:xfrm>
              <a:off x="1312531" y="1655673"/>
              <a:ext cx="71083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bold"/>
                  <a:ea typeface="+mn-ea"/>
                  <a:cs typeface="+mn-cs"/>
                </a:rPr>
                <a:t>OneLake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1B7590E-A0FC-37B7-1F84-F47BBD121B36}"/>
                </a:ext>
              </a:extLst>
            </p:cNvPr>
            <p:cNvSpPr txBox="1"/>
            <p:nvPr/>
          </p:nvSpPr>
          <p:spPr>
            <a:xfrm>
              <a:off x="1003006" y="2857320"/>
              <a:ext cx="101470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Customer data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79708C0-5AB2-48B9-F71B-32AE85549D38}"/>
                </a:ext>
              </a:extLst>
            </p:cNvPr>
            <p:cNvSpPr txBox="1"/>
            <p:nvPr/>
          </p:nvSpPr>
          <p:spPr>
            <a:xfrm>
              <a:off x="1080174" y="4094283"/>
              <a:ext cx="86036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Parquet fil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786A44-4D60-A5C0-0301-FC0F37737773}"/>
                </a:ext>
              </a:extLst>
            </p:cNvPr>
            <p:cNvSpPr txBox="1"/>
            <p:nvPr/>
          </p:nvSpPr>
          <p:spPr>
            <a:xfrm>
              <a:off x="1103486" y="5568957"/>
              <a:ext cx="81374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Delta table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69769D2-29B0-C538-F7E5-3240BC5164E3}"/>
                </a:ext>
              </a:extLst>
            </p:cNvPr>
            <p:cNvSpPr txBox="1"/>
            <p:nvPr/>
          </p:nvSpPr>
          <p:spPr>
            <a:xfrm>
              <a:off x="1610831" y="4461887"/>
              <a:ext cx="57227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Notebook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1CD2757-BFEE-7F9C-064A-E626D5B2EF8E}"/>
                </a:ext>
              </a:extLst>
            </p:cNvPr>
            <p:cNvSpPr txBox="1"/>
            <p:nvPr/>
          </p:nvSpPr>
          <p:spPr>
            <a:xfrm>
              <a:off x="2847207" y="2299439"/>
              <a:ext cx="48571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Indexing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F540FB9-3249-0366-23B9-BA874CBCC818}"/>
                </a:ext>
              </a:extLst>
            </p:cNvPr>
            <p:cNvSpPr txBox="1"/>
            <p:nvPr/>
          </p:nvSpPr>
          <p:spPr>
            <a:xfrm>
              <a:off x="2837850" y="4811733"/>
              <a:ext cx="101273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Response stored in parquet file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6071762-CF82-68AC-9456-B9130956341A}"/>
                </a:ext>
              </a:extLst>
            </p:cNvPr>
            <p:cNvSpPr txBox="1"/>
            <p:nvPr/>
          </p:nvSpPr>
          <p:spPr>
            <a:xfrm>
              <a:off x="4737549" y="2235423"/>
              <a:ext cx="872034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da-002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(Embedding)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C31BE60-0764-ABA9-2789-24B1691C2CB6}"/>
                </a:ext>
              </a:extLst>
            </p:cNvPr>
            <p:cNvSpPr txBox="1"/>
            <p:nvPr/>
          </p:nvSpPr>
          <p:spPr>
            <a:xfrm>
              <a:off x="3962919" y="2716836"/>
              <a:ext cx="7704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Embedded query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BA6F7CD-50CE-40BA-30BA-A8DCB798543B}"/>
                </a:ext>
              </a:extLst>
            </p:cNvPr>
            <p:cNvSpPr txBox="1"/>
            <p:nvPr/>
          </p:nvSpPr>
          <p:spPr>
            <a:xfrm>
              <a:off x="4642173" y="3560847"/>
              <a:ext cx="1062790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 AI Search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(vector-index)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CF22886-DB79-5165-8D12-725BBE33E08D}"/>
                </a:ext>
              </a:extLst>
            </p:cNvPr>
            <p:cNvSpPr txBox="1"/>
            <p:nvPr/>
          </p:nvSpPr>
          <p:spPr>
            <a:xfrm>
              <a:off x="5599901" y="4144506"/>
              <a:ext cx="88323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Search result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DB39C99-1121-1BE3-78AA-2698561A28CB}"/>
                </a:ext>
              </a:extLst>
            </p:cNvPr>
            <p:cNvSpPr txBox="1"/>
            <p:nvPr/>
          </p:nvSpPr>
          <p:spPr>
            <a:xfrm>
              <a:off x="4603993" y="4990070"/>
              <a:ext cx="1139159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GPT-4 Turbo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(Text generation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DEED0FF-6814-6124-2055-77C9CE062D70}"/>
                </a:ext>
              </a:extLst>
            </p:cNvPr>
            <p:cNvSpPr txBox="1"/>
            <p:nvPr/>
          </p:nvSpPr>
          <p:spPr>
            <a:xfrm>
              <a:off x="6813264" y="2045444"/>
              <a:ext cx="8672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Query for Embedding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4991142-C9AB-F06C-14EC-03C559AA3C69}"/>
                </a:ext>
              </a:extLst>
            </p:cNvPr>
            <p:cNvSpPr txBox="1"/>
            <p:nvPr/>
          </p:nvSpPr>
          <p:spPr>
            <a:xfrm>
              <a:off x="7130716" y="3489727"/>
              <a:ext cx="585097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Function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4555DEB-1F9A-C165-267B-3C7FE6A6AFDC}"/>
                </a:ext>
              </a:extLst>
            </p:cNvPr>
            <p:cNvSpPr txBox="1"/>
            <p:nvPr/>
          </p:nvSpPr>
          <p:spPr>
            <a:xfrm>
              <a:off x="7037780" y="4911001"/>
              <a:ext cx="8672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Respons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D9730E3-D954-6524-281D-50E7188D2227}"/>
                </a:ext>
              </a:extLst>
            </p:cNvPr>
            <p:cNvSpPr txBox="1"/>
            <p:nvPr/>
          </p:nvSpPr>
          <p:spPr>
            <a:xfrm>
              <a:off x="8192162" y="2888866"/>
              <a:ext cx="4412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Query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B86347D-28D4-BE07-EF38-C8233F16CDDE}"/>
                </a:ext>
              </a:extLst>
            </p:cNvPr>
            <p:cNvSpPr txBox="1"/>
            <p:nvPr/>
          </p:nvSpPr>
          <p:spPr>
            <a:xfrm>
              <a:off x="8192162" y="3502705"/>
              <a:ext cx="4412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nswer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9559BEC-CDF8-BE0B-4429-345DEE7647F2}"/>
                </a:ext>
              </a:extLst>
            </p:cNvPr>
            <p:cNvSpPr txBox="1"/>
            <p:nvPr/>
          </p:nvSpPr>
          <p:spPr>
            <a:xfrm>
              <a:off x="7420464" y="5976415"/>
              <a:ext cx="9767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Delta table data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33E5794-6E62-3F84-FAEC-C9DFA8319364}"/>
                </a:ext>
              </a:extLst>
            </p:cNvPr>
            <p:cNvSpPr txBox="1"/>
            <p:nvPr/>
          </p:nvSpPr>
          <p:spPr>
            <a:xfrm>
              <a:off x="8946694" y="3543067"/>
              <a:ext cx="62876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Web App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2DFD091-1E35-D1C9-230D-99A04832384B}"/>
                </a:ext>
              </a:extLst>
            </p:cNvPr>
            <p:cNvSpPr txBox="1"/>
            <p:nvPr/>
          </p:nvSpPr>
          <p:spPr>
            <a:xfrm>
              <a:off x="8968174" y="5423474"/>
              <a:ext cx="58580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Power BI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BAA2CD4-D682-18BB-D496-2F926521B475}"/>
                </a:ext>
              </a:extLst>
            </p:cNvPr>
            <p:cNvSpPr txBox="1"/>
            <p:nvPr/>
          </p:nvSpPr>
          <p:spPr>
            <a:xfrm>
              <a:off x="10196227" y="2888866"/>
              <a:ext cx="4454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Query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0699C80-BB08-F54E-04F4-D2594E3212C8}"/>
                </a:ext>
              </a:extLst>
            </p:cNvPr>
            <p:cNvSpPr txBox="1"/>
            <p:nvPr/>
          </p:nvSpPr>
          <p:spPr>
            <a:xfrm>
              <a:off x="10180987" y="3502705"/>
              <a:ext cx="4454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nswer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C5BBF6A-4DED-FEC0-7F3F-D5231E1F0173}"/>
                </a:ext>
              </a:extLst>
            </p:cNvPr>
            <p:cNvSpPr txBox="1"/>
            <p:nvPr/>
          </p:nvSpPr>
          <p:spPr>
            <a:xfrm>
              <a:off x="11032132" y="3543067"/>
              <a:ext cx="30457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User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B2908E1-0D4A-094D-6238-A48530B282F9}"/>
                </a:ext>
              </a:extLst>
            </p:cNvPr>
            <p:cNvSpPr/>
            <p:nvPr/>
          </p:nvSpPr>
          <p:spPr bwMode="auto">
            <a:xfrm>
              <a:off x="2508964" y="2243578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1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1798D09-63F1-AC72-E5AA-6732BE1BA606}"/>
                </a:ext>
              </a:extLst>
            </p:cNvPr>
            <p:cNvSpPr/>
            <p:nvPr/>
          </p:nvSpPr>
          <p:spPr bwMode="auto">
            <a:xfrm>
              <a:off x="2510514" y="4840903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7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006A668-EA9C-DD02-5160-AA3AC23FC601}"/>
                </a:ext>
              </a:extLst>
            </p:cNvPr>
            <p:cNvSpPr/>
            <p:nvPr/>
          </p:nvSpPr>
          <p:spPr bwMode="auto">
            <a:xfrm>
              <a:off x="4783783" y="2740206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5</a:t>
              </a: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374DE793-F825-A0F9-8A70-B3B0CDD49B0C}"/>
                </a:ext>
              </a:extLst>
            </p:cNvPr>
            <p:cNvSpPr/>
            <p:nvPr/>
          </p:nvSpPr>
          <p:spPr bwMode="auto">
            <a:xfrm>
              <a:off x="6475003" y="2057454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4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533588B-B190-B3F0-F955-53C751CF0F20}"/>
                </a:ext>
              </a:extLst>
            </p:cNvPr>
            <p:cNvSpPr/>
            <p:nvPr/>
          </p:nvSpPr>
          <p:spPr bwMode="auto">
            <a:xfrm>
              <a:off x="5259271" y="4079294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6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3496601E-2059-DBB7-87EC-8FD989C38BC3}"/>
                </a:ext>
              </a:extLst>
            </p:cNvPr>
            <p:cNvSpPr/>
            <p:nvPr/>
          </p:nvSpPr>
          <p:spPr bwMode="auto">
            <a:xfrm>
              <a:off x="7836771" y="2820514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3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30383FD-4F15-8C89-A999-568BBC980900}"/>
                </a:ext>
              </a:extLst>
            </p:cNvPr>
            <p:cNvSpPr/>
            <p:nvPr/>
          </p:nvSpPr>
          <p:spPr bwMode="auto">
            <a:xfrm>
              <a:off x="7836771" y="3450579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9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18997C9E-E96F-DA0C-2A61-E21525CFC9F7}"/>
                </a:ext>
              </a:extLst>
            </p:cNvPr>
            <p:cNvSpPr/>
            <p:nvPr/>
          </p:nvSpPr>
          <p:spPr bwMode="auto">
            <a:xfrm>
              <a:off x="9862426" y="2820514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2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674714BD-1C61-330A-9436-F72230678952}"/>
                </a:ext>
              </a:extLst>
            </p:cNvPr>
            <p:cNvSpPr/>
            <p:nvPr/>
          </p:nvSpPr>
          <p:spPr bwMode="auto">
            <a:xfrm>
              <a:off x="9862426" y="3450579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10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9BA1372-31D2-F98A-6EC0-4510E5573CEE}"/>
                </a:ext>
              </a:extLst>
            </p:cNvPr>
            <p:cNvSpPr/>
            <p:nvPr/>
          </p:nvSpPr>
          <p:spPr bwMode="auto">
            <a:xfrm>
              <a:off x="6706106" y="4840903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8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60E0C93-5DB1-77F8-0E11-BF9ABDEE991F}"/>
                </a:ext>
              </a:extLst>
            </p:cNvPr>
            <p:cNvSpPr/>
            <p:nvPr/>
          </p:nvSpPr>
          <p:spPr bwMode="auto">
            <a:xfrm>
              <a:off x="7143360" y="5914807"/>
              <a:ext cx="277104" cy="27710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Segoe UI" pitchFamily="34" charset="0"/>
                  <a:cs typeface="Segoe Sans Text" pitchFamily="2" charset="0"/>
                </a:rPr>
                <a:t>11</a:t>
              </a:r>
            </a:p>
          </p:txBody>
        </p:sp>
        <p:cxnSp>
          <p:nvCxnSpPr>
            <p:cNvPr id="72" name="Connector: Elbow 71">
              <a:extLst>
                <a:ext uri="{FF2B5EF4-FFF2-40B4-BE49-F238E27FC236}">
                  <a16:creationId xmlns:a16="http://schemas.microsoft.com/office/drawing/2014/main" id="{335EA33C-AB53-C668-C8B6-6D1DDDCCFFDC}"/>
                </a:ext>
              </a:extLst>
            </p:cNvPr>
            <p:cNvCxnSpPr>
              <a:cxnSpLocks/>
              <a:stCxn id="63" idx="3"/>
              <a:endCxn id="5" idx="1"/>
            </p:cNvCxnSpPr>
            <p:nvPr/>
          </p:nvCxnSpPr>
          <p:spPr>
            <a:xfrm>
              <a:off x="2176041" y="2574254"/>
              <a:ext cx="2776123" cy="788495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ctor: Elbow 74">
              <a:extLst>
                <a:ext uri="{FF2B5EF4-FFF2-40B4-BE49-F238E27FC236}">
                  <a16:creationId xmlns:a16="http://schemas.microsoft.com/office/drawing/2014/main" id="{9BA1FB19-7F47-FBA4-9AD7-81DA72305E93}"/>
                </a:ext>
              </a:extLst>
            </p:cNvPr>
            <p:cNvCxnSpPr>
              <a:stCxn id="16" idx="1"/>
              <a:endCxn id="64" idx="3"/>
            </p:cNvCxnSpPr>
            <p:nvPr/>
          </p:nvCxnSpPr>
          <p:spPr>
            <a:xfrm rot="10800000">
              <a:off x="2176041" y="3826895"/>
              <a:ext cx="2796868" cy="919905"/>
            </a:xfrm>
            <a:prstGeom prst="bentConnector3">
              <a:avLst>
                <a:gd name="adj1" fmla="val 87660"/>
              </a:avLst>
            </a:prstGeom>
            <a:ln w="2540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EEDE41B-7EF8-ABD2-E08E-17439CCCEFC8}"/>
                </a:ext>
              </a:extLst>
            </p:cNvPr>
            <p:cNvCxnSpPr>
              <a:stCxn id="16" idx="3"/>
              <a:endCxn id="41" idx="2"/>
            </p:cNvCxnSpPr>
            <p:nvPr/>
          </p:nvCxnSpPr>
          <p:spPr>
            <a:xfrm flipV="1">
              <a:off x="5358069" y="3859059"/>
              <a:ext cx="2065196" cy="887740"/>
            </a:xfrm>
            <a:prstGeom prst="bentConnector2">
              <a:avLst/>
            </a:prstGeom>
            <a:ln w="2540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AFB7AD85-E769-BFEF-11DE-DE26E2F2A8FE}"/>
                </a:ext>
              </a:extLst>
            </p:cNvPr>
            <p:cNvCxnSpPr>
              <a:stCxn id="8" idx="1"/>
              <a:endCxn id="6" idx="3"/>
            </p:cNvCxnSpPr>
            <p:nvPr/>
          </p:nvCxnSpPr>
          <p:spPr>
            <a:xfrm rot="10800000">
              <a:off x="5358069" y="2009705"/>
              <a:ext cx="1876080" cy="1252596"/>
            </a:xfrm>
            <a:prstGeom prst="bentConnector3">
              <a:avLst>
                <a:gd name="adj1" fmla="val 44314"/>
              </a:avLst>
            </a:prstGeom>
            <a:ln w="25400"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F485D184-1628-F8E2-0CBA-936A855F81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62441" y="3167370"/>
              <a:ext cx="123166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11B782CB-7E9B-FA4D-0E4A-3A8B68F3B9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6825" y="3364140"/>
              <a:ext cx="123166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AA6316F5-1564-8863-8AC8-7197AB4940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98502" y="3167370"/>
              <a:ext cx="100584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73B961FF-F194-8F25-9DD9-16EF30B199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22886" y="3364140"/>
              <a:ext cx="100584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79A3649-DFE2-12D9-AA33-3631F2E60476}"/>
                </a:ext>
              </a:extLst>
            </p:cNvPr>
            <p:cNvCxnSpPr>
              <a:stCxn id="64" idx="2"/>
              <a:endCxn id="65" idx="0"/>
            </p:cNvCxnSpPr>
            <p:nvPr/>
          </p:nvCxnSpPr>
          <p:spPr>
            <a:xfrm>
              <a:off x="1501348" y="4388266"/>
              <a:ext cx="0" cy="337127"/>
            </a:xfrm>
            <a:prstGeom prst="straightConnector1">
              <a:avLst/>
            </a:prstGeom>
            <a:ln w="25400">
              <a:solidFill>
                <a:schemeClr val="accent3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D390A682-C748-BF03-3C8C-526D1AB724F9}"/>
                </a:ext>
              </a:extLst>
            </p:cNvPr>
            <p:cNvCxnSpPr>
              <a:cxnSpLocks/>
              <a:stCxn id="35" idx="2"/>
              <a:endCxn id="5" idx="0"/>
            </p:cNvCxnSpPr>
            <p:nvPr/>
          </p:nvCxnSpPr>
          <p:spPr>
            <a:xfrm flipH="1">
              <a:off x="5173562" y="2604755"/>
              <a:ext cx="4" cy="536597"/>
            </a:xfrm>
            <a:prstGeom prst="straightConnector1">
              <a:avLst/>
            </a:prstGeom>
            <a:ln w="2540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C62A6AC1-CEAE-8AA0-F193-917C0AE7F003}"/>
                </a:ext>
              </a:extLst>
            </p:cNvPr>
            <p:cNvCxnSpPr>
              <a:stCxn id="37" idx="2"/>
              <a:endCxn id="16" idx="0"/>
            </p:cNvCxnSpPr>
            <p:nvPr/>
          </p:nvCxnSpPr>
          <p:spPr>
            <a:xfrm flipH="1">
              <a:off x="5165489" y="3930179"/>
              <a:ext cx="8079" cy="624041"/>
            </a:xfrm>
            <a:prstGeom prst="straightConnector1">
              <a:avLst/>
            </a:prstGeom>
            <a:ln w="2540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nector: Elbow 95">
              <a:extLst>
                <a:ext uri="{FF2B5EF4-FFF2-40B4-BE49-F238E27FC236}">
                  <a16:creationId xmlns:a16="http://schemas.microsoft.com/office/drawing/2014/main" id="{225FB18B-D591-1045-407A-BBD0E2E98E41}"/>
                </a:ext>
              </a:extLst>
            </p:cNvPr>
            <p:cNvCxnSpPr>
              <a:cxnSpLocks/>
              <a:stCxn id="62" idx="2"/>
              <a:endCxn id="69" idx="2"/>
            </p:cNvCxnSpPr>
            <p:nvPr/>
          </p:nvCxnSpPr>
          <p:spPr>
            <a:xfrm rot="5400000" flipH="1" flipV="1">
              <a:off x="5304764" y="2074098"/>
              <a:ext cx="138896" cy="7773728"/>
            </a:xfrm>
            <a:prstGeom prst="bentConnector3">
              <a:avLst>
                <a:gd name="adj1" fmla="val -164584"/>
              </a:avLst>
            </a:prstGeom>
            <a:ln w="25400">
              <a:solidFill>
                <a:schemeClr val="accent3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E0295B8-1BF7-EB8A-A20D-936206AA6C1B}"/>
                </a:ext>
              </a:extLst>
            </p:cNvPr>
            <p:cNvCxnSpPr>
              <a:cxnSpLocks/>
            </p:cNvCxnSpPr>
            <p:nvPr/>
          </p:nvCxnSpPr>
          <p:spPr>
            <a:xfrm>
              <a:off x="6938620" y="6576650"/>
              <a:ext cx="201220" cy="0"/>
            </a:xfrm>
            <a:prstGeom prst="line">
              <a:avLst/>
            </a:prstGeom>
            <a:ln w="25400">
              <a:solidFill>
                <a:schemeClr val="accent3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03C2735-80C7-0F25-3F98-01C965E7D79A}"/>
                </a:ext>
              </a:extLst>
            </p:cNvPr>
            <p:cNvCxnSpPr>
              <a:cxnSpLocks/>
            </p:cNvCxnSpPr>
            <p:nvPr/>
          </p:nvCxnSpPr>
          <p:spPr>
            <a:xfrm>
              <a:off x="8373550" y="6576650"/>
              <a:ext cx="201220" cy="0"/>
            </a:xfrm>
            <a:prstGeom prst="line">
              <a:avLst/>
            </a:prstGeom>
            <a:ln w="2540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DE53FCF-1F7D-3046-054E-B5DC8A5E7AF9}"/>
                </a:ext>
              </a:extLst>
            </p:cNvPr>
            <p:cNvCxnSpPr>
              <a:cxnSpLocks/>
            </p:cNvCxnSpPr>
            <p:nvPr/>
          </p:nvCxnSpPr>
          <p:spPr>
            <a:xfrm>
              <a:off x="10376196" y="6576650"/>
              <a:ext cx="201220" cy="0"/>
            </a:xfrm>
            <a:prstGeom prst="line">
              <a:avLst/>
            </a:prstGeom>
            <a:ln w="254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5D96990-9442-89F7-F4D2-70D88B9B566A}"/>
                </a:ext>
              </a:extLst>
            </p:cNvPr>
            <p:cNvSpPr txBox="1"/>
            <p:nvPr/>
          </p:nvSpPr>
          <p:spPr>
            <a:xfrm>
              <a:off x="7204750" y="6499706"/>
              <a:ext cx="94047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Fabric processes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946EF41-F79A-82CC-27DF-C5833219784D}"/>
                </a:ext>
              </a:extLst>
            </p:cNvPr>
            <p:cNvSpPr txBox="1"/>
            <p:nvPr/>
          </p:nvSpPr>
          <p:spPr>
            <a:xfrm>
              <a:off x="8659687" y="6499706"/>
              <a:ext cx="14844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 AI Studio processes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3623A9D-0FAA-C7A2-DE67-60B85F347C9A}"/>
                </a:ext>
              </a:extLst>
            </p:cNvPr>
            <p:cNvSpPr txBox="1"/>
            <p:nvPr/>
          </p:nvSpPr>
          <p:spPr>
            <a:xfrm>
              <a:off x="10663433" y="6499706"/>
              <a:ext cx="94047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Other processes</a:t>
              </a:r>
            </a:p>
          </p:txBody>
        </p:sp>
        <p:sp>
          <p:nvSpPr>
            <p:cNvPr id="126" name="Graphic 54">
              <a:extLst>
                <a:ext uri="{FF2B5EF4-FFF2-40B4-BE49-F238E27FC236}">
                  <a16:creationId xmlns:a16="http://schemas.microsoft.com/office/drawing/2014/main" id="{738FEE94-F42B-5BD5-10A6-627A29335AB2}"/>
                </a:ext>
              </a:extLst>
            </p:cNvPr>
            <p:cNvSpPr/>
            <p:nvPr/>
          </p:nvSpPr>
          <p:spPr>
            <a:xfrm>
              <a:off x="11036918" y="3048467"/>
              <a:ext cx="294998" cy="368748"/>
            </a:xfrm>
            <a:custGeom>
              <a:avLst/>
              <a:gdLst>
                <a:gd name="connsiteX0" fmla="*/ 253514 w 294998"/>
                <a:gd name="connsiteY0" fmla="*/ 221249 h 368748"/>
                <a:gd name="connsiteX1" fmla="*/ 294998 w 294998"/>
                <a:gd name="connsiteY1" fmla="*/ 262733 h 368748"/>
                <a:gd name="connsiteX2" fmla="*/ 294998 w 294998"/>
                <a:gd name="connsiteY2" fmla="*/ 262733 h 368748"/>
                <a:gd name="connsiteX3" fmla="*/ 294998 w 294998"/>
                <a:gd name="connsiteY3" fmla="*/ 279695 h 368748"/>
                <a:gd name="connsiteX4" fmla="*/ 285595 w 294998"/>
                <a:gd name="connsiteY4" fmla="*/ 309195 h 368748"/>
                <a:gd name="connsiteX5" fmla="*/ 147499 w 294998"/>
                <a:gd name="connsiteY5" fmla="*/ 368748 h 368748"/>
                <a:gd name="connsiteX6" fmla="*/ 9403 w 294998"/>
                <a:gd name="connsiteY6" fmla="*/ 309011 h 368748"/>
                <a:gd name="connsiteX7" fmla="*/ 0 w 294998"/>
                <a:gd name="connsiteY7" fmla="*/ 279511 h 368748"/>
                <a:gd name="connsiteX8" fmla="*/ 0 w 294998"/>
                <a:gd name="connsiteY8" fmla="*/ 262549 h 368748"/>
                <a:gd name="connsiteX9" fmla="*/ 41484 w 294998"/>
                <a:gd name="connsiteY9" fmla="*/ 221064 h 368748"/>
                <a:gd name="connsiteX10" fmla="*/ 253514 w 294998"/>
                <a:gd name="connsiteY10" fmla="*/ 221064 h 368748"/>
                <a:gd name="connsiteX11" fmla="*/ 147499 w 294998"/>
                <a:gd name="connsiteY11" fmla="*/ 0 h 368748"/>
                <a:gd name="connsiteX12" fmla="*/ 239686 w 294998"/>
                <a:gd name="connsiteY12" fmla="*/ 92187 h 368748"/>
                <a:gd name="connsiteX13" fmla="*/ 147499 w 294998"/>
                <a:gd name="connsiteY13" fmla="*/ 184374 h 368748"/>
                <a:gd name="connsiteX14" fmla="*/ 147499 w 294998"/>
                <a:gd name="connsiteY14" fmla="*/ 184374 h 368748"/>
                <a:gd name="connsiteX15" fmla="*/ 55312 w 294998"/>
                <a:gd name="connsiteY15" fmla="*/ 92187 h 368748"/>
                <a:gd name="connsiteX16" fmla="*/ 147499 w 294998"/>
                <a:gd name="connsiteY16" fmla="*/ 0 h 36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4998" h="368748">
                  <a:moveTo>
                    <a:pt x="253514" y="221249"/>
                  </a:moveTo>
                  <a:cubicBezTo>
                    <a:pt x="276376" y="221249"/>
                    <a:pt x="294998" y="239871"/>
                    <a:pt x="294998" y="262733"/>
                  </a:cubicBezTo>
                  <a:lnTo>
                    <a:pt x="294998" y="262733"/>
                  </a:lnTo>
                  <a:lnTo>
                    <a:pt x="294998" y="279695"/>
                  </a:lnTo>
                  <a:cubicBezTo>
                    <a:pt x="294998" y="290205"/>
                    <a:pt x="291679" y="300530"/>
                    <a:pt x="285595" y="309195"/>
                  </a:cubicBezTo>
                  <a:cubicBezTo>
                    <a:pt x="257017" y="349020"/>
                    <a:pt x="210555" y="368748"/>
                    <a:pt x="147499" y="368748"/>
                  </a:cubicBezTo>
                  <a:cubicBezTo>
                    <a:pt x="84443" y="368748"/>
                    <a:pt x="37797" y="349020"/>
                    <a:pt x="9403" y="309011"/>
                  </a:cubicBezTo>
                  <a:cubicBezTo>
                    <a:pt x="3319" y="300345"/>
                    <a:pt x="0" y="290205"/>
                    <a:pt x="0" y="279511"/>
                  </a:cubicBezTo>
                  <a:lnTo>
                    <a:pt x="0" y="262549"/>
                  </a:lnTo>
                  <a:cubicBezTo>
                    <a:pt x="0" y="239686"/>
                    <a:pt x="18622" y="221064"/>
                    <a:pt x="41484" y="221064"/>
                  </a:cubicBezTo>
                  <a:lnTo>
                    <a:pt x="253514" y="221064"/>
                  </a:lnTo>
                  <a:close/>
                  <a:moveTo>
                    <a:pt x="147499" y="0"/>
                  </a:moveTo>
                  <a:cubicBezTo>
                    <a:pt x="198386" y="0"/>
                    <a:pt x="239686" y="41300"/>
                    <a:pt x="239686" y="92187"/>
                  </a:cubicBezTo>
                  <a:cubicBezTo>
                    <a:pt x="239686" y="143074"/>
                    <a:pt x="198386" y="184374"/>
                    <a:pt x="147499" y="184374"/>
                  </a:cubicBezTo>
                  <a:lnTo>
                    <a:pt x="147499" y="184374"/>
                  </a:lnTo>
                  <a:cubicBezTo>
                    <a:pt x="96612" y="184374"/>
                    <a:pt x="55312" y="143074"/>
                    <a:pt x="55312" y="92187"/>
                  </a:cubicBezTo>
                  <a:cubicBezTo>
                    <a:pt x="55312" y="41300"/>
                    <a:pt x="96612" y="0"/>
                    <a:pt x="147499" y="0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316335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82C49-817B-1B3C-4109-8BC642503C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9495C-4F0C-AB19-24C8-33DFD03C6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End-to-end Cloud Native path</a:t>
            </a:r>
          </a:p>
        </p:txBody>
      </p:sp>
      <p:grpSp>
        <p:nvGrpSpPr>
          <p:cNvPr id="6" name="Group 5" descr="Community - some of the open-source communities that Microsoft supports include Dapr and Kubernetes">
            <a:extLst>
              <a:ext uri="{FF2B5EF4-FFF2-40B4-BE49-F238E27FC236}">
                <a16:creationId xmlns:a16="http://schemas.microsoft.com/office/drawing/2014/main" id="{FFAE3F33-EEFC-3A0E-9CED-8C6032CABD82}"/>
              </a:ext>
            </a:extLst>
          </p:cNvPr>
          <p:cNvGrpSpPr/>
          <p:nvPr/>
        </p:nvGrpSpPr>
        <p:grpSpPr>
          <a:xfrm>
            <a:off x="301488" y="1593306"/>
            <a:ext cx="2799514" cy="1548935"/>
            <a:chOff x="267249" y="1593306"/>
            <a:chExt cx="2799514" cy="1548935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4FEE28B4-9ED7-C115-326B-D372432BF99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 bwMode="auto">
            <a:xfrm>
              <a:off x="267249" y="1593306"/>
              <a:ext cx="2799514" cy="1548935"/>
            </a:xfrm>
            <a:prstGeom prst="roundRect">
              <a:avLst>
                <a:gd name="adj" fmla="val 11157"/>
              </a:avLst>
            </a:prstGeom>
            <a:noFill/>
            <a:ln w="12700" cap="rnd">
              <a:solidFill>
                <a:srgbClr val="D9D9D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F2EF97F-A9C3-B7A5-E001-3C5CCE1F2B7F}"/>
                </a:ext>
              </a:extLst>
            </p:cNvPr>
            <p:cNvSpPr txBox="1"/>
            <p:nvPr/>
          </p:nvSpPr>
          <p:spPr>
            <a:xfrm>
              <a:off x="540160" y="1752894"/>
              <a:ext cx="2234201" cy="1938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 marL="457183" defTabSz="914367">
                <a:defRPr sz="1765">
                  <a:solidFill>
                    <a:schemeClr val="lt1"/>
                  </a:solidFill>
                </a:defRPr>
              </a:lvl2pPr>
              <a:lvl3pPr marL="914367" defTabSz="914367">
                <a:defRPr sz="1765">
                  <a:solidFill>
                    <a:schemeClr val="lt1"/>
                  </a:solidFill>
                </a:defRPr>
              </a:lvl3pPr>
              <a:lvl4pPr marL="1371550" defTabSz="914367">
                <a:defRPr sz="1765">
                  <a:solidFill>
                    <a:schemeClr val="lt1"/>
                  </a:solidFill>
                </a:defRPr>
              </a:lvl4pPr>
              <a:lvl5pPr marL="1828734" defTabSz="914367">
                <a:defRPr sz="1765">
                  <a:solidFill>
                    <a:schemeClr val="lt1"/>
                  </a:solidFill>
                </a:defRPr>
              </a:lvl5pPr>
              <a:lvl6pPr marL="2285918" defTabSz="914367">
                <a:defRPr sz="1765">
                  <a:solidFill>
                    <a:schemeClr val="lt1"/>
                  </a:solidFill>
                </a:defRPr>
              </a:lvl6pPr>
              <a:lvl7pPr marL="2743101" defTabSz="914367">
                <a:defRPr sz="1765">
                  <a:solidFill>
                    <a:schemeClr val="lt1"/>
                  </a:solidFill>
                </a:defRPr>
              </a:lvl7pPr>
              <a:lvl8pPr marL="3200284" defTabSz="914367">
                <a:defRPr sz="1765">
                  <a:solidFill>
                    <a:schemeClr val="lt1"/>
                  </a:solidFill>
                </a:defRPr>
              </a:lvl8pPr>
              <a:lvl9pPr marL="3657469" defTabSz="914367">
                <a:defRPr sz="1765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ommunity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9A4216F-0D06-9589-4EF5-7CCF00F8A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29859" y="2243279"/>
              <a:ext cx="298335" cy="8873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D13C71-A544-EB23-3158-ADC2076BD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1000"/>
                      </a14:imgEffect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684240" y="2171573"/>
              <a:ext cx="315810" cy="23215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CE2509B-971E-66AB-9332-80641799F1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83863"/>
            <a:stretch/>
          </p:blipFill>
          <p:spPr>
            <a:xfrm>
              <a:off x="739958" y="2141360"/>
              <a:ext cx="284257" cy="2771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5B228C2-3859-30DB-B208-30976AFC1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07018" y="2082037"/>
              <a:ext cx="356054" cy="34366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14C474E-BE01-388C-7EA4-97BAF6423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81555" y="2623629"/>
              <a:ext cx="213303" cy="23091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9A37900-30CF-B3D6-B9E8-71196AAC5F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r="73478"/>
            <a:stretch/>
          </p:blipFill>
          <p:spPr>
            <a:xfrm>
              <a:off x="1256850" y="2629349"/>
              <a:ext cx="232838" cy="219472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2448A8F-23EA-E438-E17D-47DD39809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659487" y="2517745"/>
              <a:ext cx="321582" cy="34168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EA5B4CC-8D0F-74D7-1BE1-36FF40691A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259607" y="2589498"/>
              <a:ext cx="242075" cy="272456"/>
            </a:xfrm>
            <a:prstGeom prst="rect">
              <a:avLst/>
            </a:prstGeom>
          </p:spPr>
        </p:pic>
      </p:grpSp>
      <p:grpSp>
        <p:nvGrpSpPr>
          <p:cNvPr id="161" name="Group 160" descr="Security include: Microsoft Entra Id, Azure policy, Microsoft Defender">
            <a:extLst>
              <a:ext uri="{FF2B5EF4-FFF2-40B4-BE49-F238E27FC236}">
                <a16:creationId xmlns:a16="http://schemas.microsoft.com/office/drawing/2014/main" id="{92482D12-CC17-A2C7-5475-A55BD3B00A9D}"/>
              </a:ext>
            </a:extLst>
          </p:cNvPr>
          <p:cNvGrpSpPr/>
          <p:nvPr/>
        </p:nvGrpSpPr>
        <p:grpSpPr>
          <a:xfrm>
            <a:off x="3179889" y="1595092"/>
            <a:ext cx="3360984" cy="1549636"/>
            <a:chOff x="3179889" y="1595092"/>
            <a:chExt cx="3360984" cy="1549636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7F67AB4D-22A5-186D-ADC4-052085A76C3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 bwMode="auto">
            <a:xfrm>
              <a:off x="3179889" y="1595092"/>
              <a:ext cx="3360984" cy="1549636"/>
            </a:xfrm>
            <a:prstGeom prst="roundRect">
              <a:avLst>
                <a:gd name="adj" fmla="val 10373"/>
              </a:avLst>
            </a:prstGeom>
            <a:noFill/>
            <a:ln w="12700" cap="rnd">
              <a:solidFill>
                <a:srgbClr val="D9D9D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CF339AA-485E-9E59-30CE-27DD652888B0}"/>
                </a:ext>
              </a:extLst>
            </p:cNvPr>
            <p:cNvSpPr txBox="1"/>
            <p:nvPr/>
          </p:nvSpPr>
          <p:spPr>
            <a:xfrm>
              <a:off x="3772128" y="1749201"/>
              <a:ext cx="2234201" cy="1938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 marL="457183" defTabSz="914367">
                <a:defRPr sz="1765">
                  <a:solidFill>
                    <a:schemeClr val="lt1"/>
                  </a:solidFill>
                </a:defRPr>
              </a:lvl2pPr>
              <a:lvl3pPr marL="914367" defTabSz="914367">
                <a:defRPr sz="1765">
                  <a:solidFill>
                    <a:schemeClr val="lt1"/>
                  </a:solidFill>
                </a:defRPr>
              </a:lvl3pPr>
              <a:lvl4pPr marL="1371550" defTabSz="914367">
                <a:defRPr sz="1765">
                  <a:solidFill>
                    <a:schemeClr val="lt1"/>
                  </a:solidFill>
                </a:defRPr>
              </a:lvl4pPr>
              <a:lvl5pPr marL="1828734" defTabSz="914367">
                <a:defRPr sz="1765">
                  <a:solidFill>
                    <a:schemeClr val="lt1"/>
                  </a:solidFill>
                </a:defRPr>
              </a:lvl5pPr>
              <a:lvl6pPr marL="2285918" defTabSz="914367">
                <a:defRPr sz="1765">
                  <a:solidFill>
                    <a:schemeClr val="lt1"/>
                  </a:solidFill>
                </a:defRPr>
              </a:lvl6pPr>
              <a:lvl7pPr marL="2743101" defTabSz="914367">
                <a:defRPr sz="1765">
                  <a:solidFill>
                    <a:schemeClr val="lt1"/>
                  </a:solidFill>
                </a:defRPr>
              </a:lvl7pPr>
              <a:lvl8pPr marL="3200284" defTabSz="914367">
                <a:defRPr sz="1765">
                  <a:solidFill>
                    <a:schemeClr val="lt1"/>
                  </a:solidFill>
                </a:defRPr>
              </a:lvl8pPr>
              <a:lvl9pPr marL="3657469" defTabSz="914367">
                <a:defRPr sz="1765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ecurity</a:t>
              </a:r>
            </a:p>
          </p:txBody>
        </p:sp>
        <p:grpSp>
          <p:nvGrpSpPr>
            <p:cNvPr id="144" name="Graphic 57">
              <a:extLst>
                <a:ext uri="{FF2B5EF4-FFF2-40B4-BE49-F238E27FC236}">
                  <a16:creationId xmlns:a16="http://schemas.microsoft.com/office/drawing/2014/main" id="{7CD8F3AE-5929-93AB-3A61-D9E0157EA5BF}"/>
                </a:ext>
              </a:extLst>
            </p:cNvPr>
            <p:cNvGrpSpPr/>
            <p:nvPr/>
          </p:nvGrpSpPr>
          <p:grpSpPr>
            <a:xfrm>
              <a:off x="3771641" y="2113807"/>
              <a:ext cx="313318" cy="278471"/>
              <a:chOff x="3771641" y="2113807"/>
              <a:chExt cx="313318" cy="278471"/>
            </a:xfrm>
          </p:grpSpPr>
          <p:sp>
            <p:nvSpPr>
              <p:cNvPr id="145" name="Freeform 144">
                <a:extLst>
                  <a:ext uri="{FF2B5EF4-FFF2-40B4-BE49-F238E27FC236}">
                    <a16:creationId xmlns:a16="http://schemas.microsoft.com/office/drawing/2014/main" id="{DA22B2A3-BA78-9F9E-3065-F4C10BB53EA9}"/>
                  </a:ext>
                </a:extLst>
              </p:cNvPr>
              <p:cNvSpPr/>
              <p:nvPr/>
            </p:nvSpPr>
            <p:spPr>
              <a:xfrm>
                <a:off x="3852338" y="2188203"/>
                <a:ext cx="75979" cy="133195"/>
              </a:xfrm>
              <a:custGeom>
                <a:avLst/>
                <a:gdLst>
                  <a:gd name="connsiteX0" fmla="*/ 0 w 75979"/>
                  <a:gd name="connsiteY0" fmla="*/ 85710 h 133195"/>
                  <a:gd name="connsiteX1" fmla="*/ 905 w 75979"/>
                  <a:gd name="connsiteY1" fmla="*/ 86267 h 133195"/>
                  <a:gd name="connsiteX2" fmla="*/ 75962 w 75979"/>
                  <a:gd name="connsiteY2" fmla="*/ 133195 h 133195"/>
                  <a:gd name="connsiteX3" fmla="*/ 75980 w 75979"/>
                  <a:gd name="connsiteY3" fmla="*/ 133195 h 133195"/>
                  <a:gd name="connsiteX4" fmla="*/ 75980 w 75979"/>
                  <a:gd name="connsiteY4" fmla="*/ 133195 h 133195"/>
                  <a:gd name="connsiteX5" fmla="*/ 75980 w 75979"/>
                  <a:gd name="connsiteY5" fmla="*/ 17 h 133195"/>
                  <a:gd name="connsiteX6" fmla="*/ 75962 w 75979"/>
                  <a:gd name="connsiteY6" fmla="*/ 0 h 133195"/>
                  <a:gd name="connsiteX7" fmla="*/ 0 w 75979"/>
                  <a:gd name="connsiteY7" fmla="*/ 85710 h 133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979" h="133195">
                    <a:moveTo>
                      <a:pt x="0" y="85710"/>
                    </a:moveTo>
                    <a:lnTo>
                      <a:pt x="905" y="86267"/>
                    </a:lnTo>
                    <a:lnTo>
                      <a:pt x="75962" y="133195"/>
                    </a:lnTo>
                    <a:lnTo>
                      <a:pt x="75980" y="133195"/>
                    </a:lnTo>
                    <a:lnTo>
                      <a:pt x="75980" y="133195"/>
                    </a:lnTo>
                    <a:lnTo>
                      <a:pt x="75980" y="17"/>
                    </a:lnTo>
                    <a:lnTo>
                      <a:pt x="75962" y="0"/>
                    </a:lnTo>
                    <a:lnTo>
                      <a:pt x="0" y="85710"/>
                    </a:lnTo>
                    <a:close/>
                  </a:path>
                </a:pathLst>
              </a:custGeom>
              <a:solidFill>
                <a:srgbClr val="FFB34D">
                  <a:alpha val="90000"/>
                </a:srgb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Freeform 145">
                <a:extLst>
                  <a:ext uri="{FF2B5EF4-FFF2-40B4-BE49-F238E27FC236}">
                    <a16:creationId xmlns:a16="http://schemas.microsoft.com/office/drawing/2014/main" id="{DD985687-67E7-5E9B-AD49-349585D3BA21}"/>
                  </a:ext>
                </a:extLst>
              </p:cNvPr>
              <p:cNvSpPr/>
              <p:nvPr/>
            </p:nvSpPr>
            <p:spPr>
              <a:xfrm>
                <a:off x="3771641" y="2113807"/>
                <a:ext cx="221499" cy="235720"/>
              </a:xfrm>
              <a:custGeom>
                <a:avLst/>
                <a:gdLst>
                  <a:gd name="connsiteX0" fmla="*/ 176607 w 221499"/>
                  <a:gd name="connsiteY0" fmla="*/ 8825 h 235720"/>
                  <a:gd name="connsiteX1" fmla="*/ 156677 w 221499"/>
                  <a:gd name="connsiteY1" fmla="*/ 0 h 235720"/>
                  <a:gd name="connsiteX2" fmla="*/ 156677 w 221499"/>
                  <a:gd name="connsiteY2" fmla="*/ 0 h 235720"/>
                  <a:gd name="connsiteX3" fmla="*/ 136711 w 221499"/>
                  <a:gd name="connsiteY3" fmla="*/ 8808 h 235720"/>
                  <a:gd name="connsiteX4" fmla="*/ 136694 w 221499"/>
                  <a:gd name="connsiteY4" fmla="*/ 8808 h 235720"/>
                  <a:gd name="connsiteX5" fmla="*/ 6144 w 221499"/>
                  <a:gd name="connsiteY5" fmla="*/ 156068 h 235720"/>
                  <a:gd name="connsiteX6" fmla="*/ 11767 w 221499"/>
                  <a:gd name="connsiteY6" fmla="*/ 192813 h 235720"/>
                  <a:gd name="connsiteX7" fmla="*/ 66180 w 221499"/>
                  <a:gd name="connsiteY7" fmla="*/ 226826 h 235720"/>
                  <a:gd name="connsiteX8" fmla="*/ 96032 w 221499"/>
                  <a:gd name="connsiteY8" fmla="*/ 235720 h 235720"/>
                  <a:gd name="connsiteX9" fmla="*/ 125206 w 221499"/>
                  <a:gd name="connsiteY9" fmla="*/ 227243 h 235720"/>
                  <a:gd name="connsiteX10" fmla="*/ 125241 w 221499"/>
                  <a:gd name="connsiteY10" fmla="*/ 227243 h 235720"/>
                  <a:gd name="connsiteX11" fmla="*/ 156659 w 221499"/>
                  <a:gd name="connsiteY11" fmla="*/ 207609 h 235720"/>
                  <a:gd name="connsiteX12" fmla="*/ 80697 w 221499"/>
                  <a:gd name="connsiteY12" fmla="*/ 160124 h 235720"/>
                  <a:gd name="connsiteX13" fmla="*/ 156677 w 221499"/>
                  <a:gd name="connsiteY13" fmla="*/ 74413 h 235720"/>
                  <a:gd name="connsiteX14" fmla="*/ 158574 w 221499"/>
                  <a:gd name="connsiteY14" fmla="*/ 72272 h 235720"/>
                  <a:gd name="connsiteX15" fmla="*/ 198644 w 221499"/>
                  <a:gd name="connsiteY15" fmla="*/ 54413 h 235720"/>
                  <a:gd name="connsiteX16" fmla="*/ 221499 w 221499"/>
                  <a:gd name="connsiteY16" fmla="*/ 59478 h 235720"/>
                  <a:gd name="connsiteX17" fmla="*/ 176607 w 221499"/>
                  <a:gd name="connsiteY17" fmla="*/ 8843 h 23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1499" h="235720">
                    <a:moveTo>
                      <a:pt x="176607" y="8825"/>
                    </a:moveTo>
                    <a:cubicBezTo>
                      <a:pt x="171403" y="2942"/>
                      <a:pt x="164040" y="0"/>
                      <a:pt x="156677" y="0"/>
                    </a:cubicBezTo>
                    <a:lnTo>
                      <a:pt x="156677" y="0"/>
                    </a:lnTo>
                    <a:cubicBezTo>
                      <a:pt x="149296" y="-17"/>
                      <a:pt x="141933" y="2924"/>
                      <a:pt x="136711" y="8808"/>
                    </a:cubicBezTo>
                    <a:lnTo>
                      <a:pt x="136694" y="8808"/>
                    </a:lnTo>
                    <a:lnTo>
                      <a:pt x="6144" y="156068"/>
                    </a:lnTo>
                    <a:cubicBezTo>
                      <a:pt x="-3934" y="167452"/>
                      <a:pt x="-1306" y="184649"/>
                      <a:pt x="11767" y="192813"/>
                    </a:cubicBezTo>
                    <a:cubicBezTo>
                      <a:pt x="11767" y="192813"/>
                      <a:pt x="60088" y="223014"/>
                      <a:pt x="66180" y="226826"/>
                    </a:cubicBezTo>
                    <a:cubicBezTo>
                      <a:pt x="72934" y="231038"/>
                      <a:pt x="84161" y="235720"/>
                      <a:pt x="96032" y="235720"/>
                    </a:cubicBezTo>
                    <a:cubicBezTo>
                      <a:pt x="106842" y="235720"/>
                      <a:pt x="116885" y="232587"/>
                      <a:pt x="125206" y="227243"/>
                    </a:cubicBezTo>
                    <a:cubicBezTo>
                      <a:pt x="125206" y="227243"/>
                      <a:pt x="125206" y="227243"/>
                      <a:pt x="125241" y="227243"/>
                    </a:cubicBezTo>
                    <a:lnTo>
                      <a:pt x="156659" y="207609"/>
                    </a:lnTo>
                    <a:lnTo>
                      <a:pt x="80697" y="160124"/>
                    </a:lnTo>
                    <a:lnTo>
                      <a:pt x="156677" y="74413"/>
                    </a:lnTo>
                    <a:lnTo>
                      <a:pt x="158574" y="72272"/>
                    </a:lnTo>
                    <a:cubicBezTo>
                      <a:pt x="168148" y="61358"/>
                      <a:pt x="182543" y="54413"/>
                      <a:pt x="198644" y="54413"/>
                    </a:cubicBezTo>
                    <a:cubicBezTo>
                      <a:pt x="206860" y="54413"/>
                      <a:pt x="214589" y="56276"/>
                      <a:pt x="221499" y="59478"/>
                    </a:cubicBezTo>
                    <a:lnTo>
                      <a:pt x="176607" y="8843"/>
                    </a:lnTo>
                    <a:close/>
                  </a:path>
                </a:pathLst>
              </a:custGeom>
              <a:solidFill>
                <a:srgbClr val="FAA21D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Freeform 146">
                <a:extLst>
                  <a:ext uri="{FF2B5EF4-FFF2-40B4-BE49-F238E27FC236}">
                    <a16:creationId xmlns:a16="http://schemas.microsoft.com/office/drawing/2014/main" id="{21BF5364-9293-3637-FC75-7DD97C653E2A}"/>
                  </a:ext>
                </a:extLst>
              </p:cNvPr>
              <p:cNvSpPr/>
              <p:nvPr/>
            </p:nvSpPr>
            <p:spPr>
              <a:xfrm>
                <a:off x="3928317" y="2188221"/>
                <a:ext cx="75962" cy="133160"/>
              </a:xfrm>
              <a:custGeom>
                <a:avLst/>
                <a:gdLst>
                  <a:gd name="connsiteX0" fmla="*/ 75962 w 75962"/>
                  <a:gd name="connsiteY0" fmla="*/ 85693 h 133160"/>
                  <a:gd name="connsiteX1" fmla="*/ 75962 w 75962"/>
                  <a:gd name="connsiteY1" fmla="*/ 85693 h 133160"/>
                  <a:gd name="connsiteX2" fmla="*/ 75962 w 75962"/>
                  <a:gd name="connsiteY2" fmla="*/ 85693 h 133160"/>
                  <a:gd name="connsiteX3" fmla="*/ 0 w 75962"/>
                  <a:gd name="connsiteY3" fmla="*/ 0 h 133160"/>
                  <a:gd name="connsiteX4" fmla="*/ 0 w 75962"/>
                  <a:gd name="connsiteY4" fmla="*/ 133161 h 133160"/>
                  <a:gd name="connsiteX5" fmla="*/ 75962 w 75962"/>
                  <a:gd name="connsiteY5" fmla="*/ 85693 h 133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962" h="133160">
                    <a:moveTo>
                      <a:pt x="75962" y="85693"/>
                    </a:moveTo>
                    <a:lnTo>
                      <a:pt x="75962" y="85693"/>
                    </a:lnTo>
                    <a:lnTo>
                      <a:pt x="75962" y="85693"/>
                    </a:lnTo>
                    <a:lnTo>
                      <a:pt x="0" y="0"/>
                    </a:lnTo>
                    <a:lnTo>
                      <a:pt x="0" y="133161"/>
                    </a:lnTo>
                    <a:lnTo>
                      <a:pt x="75962" y="85693"/>
                    </a:lnTo>
                    <a:close/>
                  </a:path>
                </a:pathLst>
              </a:custGeom>
              <a:solidFill>
                <a:srgbClr val="F78D1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Freeform 147">
                <a:extLst>
                  <a:ext uri="{FF2B5EF4-FFF2-40B4-BE49-F238E27FC236}">
                    <a16:creationId xmlns:a16="http://schemas.microsoft.com/office/drawing/2014/main" id="{D843EA13-880E-FD07-C82B-15CC3556A501}"/>
                  </a:ext>
                </a:extLst>
              </p:cNvPr>
              <p:cNvSpPr/>
              <p:nvPr/>
            </p:nvSpPr>
            <p:spPr>
              <a:xfrm>
                <a:off x="3837820" y="2168186"/>
                <a:ext cx="247139" cy="224092"/>
              </a:xfrm>
              <a:custGeom>
                <a:avLst/>
                <a:gdLst>
                  <a:gd name="connsiteX0" fmla="*/ 240995 w 247139"/>
                  <a:gd name="connsiteY0" fmla="*/ 101689 h 224092"/>
                  <a:gd name="connsiteX1" fmla="*/ 155337 w 247139"/>
                  <a:gd name="connsiteY1" fmla="*/ 5065 h 224092"/>
                  <a:gd name="connsiteX2" fmla="*/ 132482 w 247139"/>
                  <a:gd name="connsiteY2" fmla="*/ 0 h 224092"/>
                  <a:gd name="connsiteX3" fmla="*/ 92412 w 247139"/>
                  <a:gd name="connsiteY3" fmla="*/ 17859 h 224092"/>
                  <a:gd name="connsiteX4" fmla="*/ 90514 w 247139"/>
                  <a:gd name="connsiteY4" fmla="*/ 20000 h 224092"/>
                  <a:gd name="connsiteX5" fmla="*/ 166477 w 247139"/>
                  <a:gd name="connsiteY5" fmla="*/ 105710 h 224092"/>
                  <a:gd name="connsiteX6" fmla="*/ 92220 w 247139"/>
                  <a:gd name="connsiteY6" fmla="*/ 152116 h 224092"/>
                  <a:gd name="connsiteX7" fmla="*/ 90497 w 247139"/>
                  <a:gd name="connsiteY7" fmla="*/ 153196 h 224092"/>
                  <a:gd name="connsiteX8" fmla="*/ 90497 w 247139"/>
                  <a:gd name="connsiteY8" fmla="*/ 153248 h 224092"/>
                  <a:gd name="connsiteX9" fmla="*/ 90480 w 247139"/>
                  <a:gd name="connsiteY9" fmla="*/ 153213 h 224092"/>
                  <a:gd name="connsiteX10" fmla="*/ 59061 w 247139"/>
                  <a:gd name="connsiteY10" fmla="*/ 172848 h 224092"/>
                  <a:gd name="connsiteX11" fmla="*/ 59026 w 247139"/>
                  <a:gd name="connsiteY11" fmla="*/ 172848 h 224092"/>
                  <a:gd name="connsiteX12" fmla="*/ 29852 w 247139"/>
                  <a:gd name="connsiteY12" fmla="*/ 181325 h 224092"/>
                  <a:gd name="connsiteX13" fmla="*/ 0 w 247139"/>
                  <a:gd name="connsiteY13" fmla="*/ 172430 h 224092"/>
                  <a:gd name="connsiteX14" fmla="*/ 76137 w 247139"/>
                  <a:gd name="connsiteY14" fmla="*/ 220020 h 224092"/>
                  <a:gd name="connsiteX15" fmla="*/ 90480 w 247139"/>
                  <a:gd name="connsiteY15" fmla="*/ 224093 h 224092"/>
                  <a:gd name="connsiteX16" fmla="*/ 90480 w 247139"/>
                  <a:gd name="connsiteY16" fmla="*/ 224093 h 224092"/>
                  <a:gd name="connsiteX17" fmla="*/ 90497 w 247139"/>
                  <a:gd name="connsiteY17" fmla="*/ 224093 h 224092"/>
                  <a:gd name="connsiteX18" fmla="*/ 104823 w 247139"/>
                  <a:gd name="connsiteY18" fmla="*/ 220020 h 224092"/>
                  <a:gd name="connsiteX19" fmla="*/ 134936 w 247139"/>
                  <a:gd name="connsiteY19" fmla="*/ 201203 h 224092"/>
                  <a:gd name="connsiteX20" fmla="*/ 134936 w 247139"/>
                  <a:gd name="connsiteY20" fmla="*/ 201203 h 224092"/>
                  <a:gd name="connsiteX21" fmla="*/ 235372 w 247139"/>
                  <a:gd name="connsiteY21" fmla="*/ 138417 h 224092"/>
                  <a:gd name="connsiteX22" fmla="*/ 235372 w 247139"/>
                  <a:gd name="connsiteY22" fmla="*/ 138417 h 224092"/>
                  <a:gd name="connsiteX23" fmla="*/ 240995 w 247139"/>
                  <a:gd name="connsiteY23" fmla="*/ 101689 h 224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47139" h="224092">
                    <a:moveTo>
                      <a:pt x="240995" y="101689"/>
                    </a:moveTo>
                    <a:lnTo>
                      <a:pt x="155337" y="5065"/>
                    </a:lnTo>
                    <a:cubicBezTo>
                      <a:pt x="148426" y="1845"/>
                      <a:pt x="140680" y="0"/>
                      <a:pt x="132482" y="0"/>
                    </a:cubicBezTo>
                    <a:cubicBezTo>
                      <a:pt x="116381" y="0"/>
                      <a:pt x="101985" y="6945"/>
                      <a:pt x="92412" y="17859"/>
                    </a:cubicBezTo>
                    <a:lnTo>
                      <a:pt x="90514" y="20000"/>
                    </a:lnTo>
                    <a:lnTo>
                      <a:pt x="166477" y="105710"/>
                    </a:lnTo>
                    <a:lnTo>
                      <a:pt x="92220" y="152116"/>
                    </a:lnTo>
                    <a:lnTo>
                      <a:pt x="90497" y="153196"/>
                    </a:lnTo>
                    <a:lnTo>
                      <a:pt x="90497" y="153248"/>
                    </a:lnTo>
                    <a:cubicBezTo>
                      <a:pt x="90497" y="153248"/>
                      <a:pt x="90480" y="153213"/>
                      <a:pt x="90480" y="153213"/>
                    </a:cubicBezTo>
                    <a:lnTo>
                      <a:pt x="59061" y="172848"/>
                    </a:lnTo>
                    <a:cubicBezTo>
                      <a:pt x="59061" y="172848"/>
                      <a:pt x="59026" y="172848"/>
                      <a:pt x="59026" y="172848"/>
                    </a:cubicBezTo>
                    <a:cubicBezTo>
                      <a:pt x="50705" y="178191"/>
                      <a:pt x="40662" y="181325"/>
                      <a:pt x="29852" y="181325"/>
                    </a:cubicBezTo>
                    <a:cubicBezTo>
                      <a:pt x="17981" y="181325"/>
                      <a:pt x="6754" y="176642"/>
                      <a:pt x="0" y="172430"/>
                    </a:cubicBezTo>
                    <a:lnTo>
                      <a:pt x="76137" y="220020"/>
                    </a:lnTo>
                    <a:cubicBezTo>
                      <a:pt x="80488" y="222735"/>
                      <a:pt x="85501" y="224093"/>
                      <a:pt x="90480" y="224093"/>
                    </a:cubicBezTo>
                    <a:lnTo>
                      <a:pt x="90480" y="224093"/>
                    </a:lnTo>
                    <a:cubicBezTo>
                      <a:pt x="90480" y="224093"/>
                      <a:pt x="90497" y="224093"/>
                      <a:pt x="90497" y="224093"/>
                    </a:cubicBezTo>
                    <a:cubicBezTo>
                      <a:pt x="95493" y="224093"/>
                      <a:pt x="100471" y="222735"/>
                      <a:pt x="104823" y="220020"/>
                    </a:cubicBezTo>
                    <a:lnTo>
                      <a:pt x="134936" y="201203"/>
                    </a:lnTo>
                    <a:lnTo>
                      <a:pt x="134936" y="201203"/>
                    </a:lnTo>
                    <a:cubicBezTo>
                      <a:pt x="134936" y="201203"/>
                      <a:pt x="235372" y="138417"/>
                      <a:pt x="235372" y="138417"/>
                    </a:cubicBezTo>
                    <a:lnTo>
                      <a:pt x="235372" y="138417"/>
                    </a:lnTo>
                    <a:cubicBezTo>
                      <a:pt x="248445" y="130271"/>
                      <a:pt x="251073" y="113073"/>
                      <a:pt x="240995" y="101689"/>
                    </a:cubicBezTo>
                    <a:close/>
                  </a:path>
                </a:pathLst>
              </a:custGeom>
              <a:gradFill>
                <a:gsLst>
                  <a:gs pos="8500">
                    <a:srgbClr val="EF7100"/>
                  </a:gs>
                  <a:gs pos="99900">
                    <a:srgbClr val="F78D1E"/>
                  </a:gs>
                </a:gsLst>
                <a:lin ang="5400000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2735BAAA-7038-8970-FE02-96B3B8FA2AB0}"/>
                </a:ext>
              </a:extLst>
            </p:cNvPr>
            <p:cNvSpPr/>
            <p:nvPr/>
          </p:nvSpPr>
          <p:spPr>
            <a:xfrm>
              <a:off x="3964854" y="2253060"/>
              <a:ext cx="120140" cy="146685"/>
            </a:xfrm>
            <a:custGeom>
              <a:avLst/>
              <a:gdLst>
                <a:gd name="connsiteX0" fmla="*/ 120106 w 120140"/>
                <a:gd name="connsiteY0" fmla="*/ 68478 h 146685"/>
                <a:gd name="connsiteX1" fmla="*/ 62002 w 120140"/>
                <a:gd name="connsiteY1" fmla="*/ 146111 h 146685"/>
                <a:gd name="connsiteX2" fmla="*/ 58103 w 120140"/>
                <a:gd name="connsiteY2" fmla="*/ 146111 h 146685"/>
                <a:gd name="connsiteX3" fmla="*/ 0 w 120140"/>
                <a:gd name="connsiteY3" fmla="*/ 68478 h 146685"/>
                <a:gd name="connsiteX4" fmla="*/ 0 w 120140"/>
                <a:gd name="connsiteY4" fmla="*/ 21045 h 146685"/>
                <a:gd name="connsiteX5" fmla="*/ 3655 w 120140"/>
                <a:gd name="connsiteY5" fmla="*/ 17250 h 146685"/>
                <a:gd name="connsiteX6" fmla="*/ 60070 w 120140"/>
                <a:gd name="connsiteY6" fmla="*/ 0 h 146685"/>
                <a:gd name="connsiteX7" fmla="*/ 116485 w 120140"/>
                <a:gd name="connsiteY7" fmla="*/ 17250 h 146685"/>
                <a:gd name="connsiteX8" fmla="*/ 120140 w 120140"/>
                <a:gd name="connsiteY8" fmla="*/ 21045 h 146685"/>
                <a:gd name="connsiteX9" fmla="*/ 120140 w 120140"/>
                <a:gd name="connsiteY9" fmla="*/ 68478 h 14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140" h="146685">
                  <a:moveTo>
                    <a:pt x="120106" y="68478"/>
                  </a:moveTo>
                  <a:cubicBezTo>
                    <a:pt x="120106" y="107904"/>
                    <a:pt x="72429" y="139636"/>
                    <a:pt x="62002" y="146111"/>
                  </a:cubicBezTo>
                  <a:cubicBezTo>
                    <a:pt x="60819" y="146877"/>
                    <a:pt x="59287" y="146877"/>
                    <a:pt x="58103" y="146111"/>
                  </a:cubicBezTo>
                  <a:cubicBezTo>
                    <a:pt x="47677" y="139723"/>
                    <a:pt x="0" y="107991"/>
                    <a:pt x="0" y="68478"/>
                  </a:cubicBezTo>
                  <a:lnTo>
                    <a:pt x="0" y="21045"/>
                  </a:lnTo>
                  <a:cubicBezTo>
                    <a:pt x="0" y="18973"/>
                    <a:pt x="1619" y="17302"/>
                    <a:pt x="3655" y="17250"/>
                  </a:cubicBezTo>
                  <a:cubicBezTo>
                    <a:pt x="40801" y="16293"/>
                    <a:pt x="32237" y="0"/>
                    <a:pt x="60070" y="0"/>
                  </a:cubicBezTo>
                  <a:cubicBezTo>
                    <a:pt x="87903" y="0"/>
                    <a:pt x="79322" y="16310"/>
                    <a:pt x="116485" y="17250"/>
                  </a:cubicBezTo>
                  <a:cubicBezTo>
                    <a:pt x="118522" y="17302"/>
                    <a:pt x="120140" y="18991"/>
                    <a:pt x="120140" y="21045"/>
                  </a:cubicBezTo>
                  <a:lnTo>
                    <a:pt x="120140" y="68478"/>
                  </a:lnTo>
                  <a:close/>
                </a:path>
              </a:pathLst>
            </a:custGeom>
            <a:solidFill>
              <a:srgbClr val="0078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9758636C-A928-6F4C-C472-6DB11767E8A4}"/>
                </a:ext>
              </a:extLst>
            </p:cNvPr>
            <p:cNvSpPr/>
            <p:nvPr/>
          </p:nvSpPr>
          <p:spPr>
            <a:xfrm>
              <a:off x="3969710" y="2259170"/>
              <a:ext cx="110340" cy="134383"/>
            </a:xfrm>
            <a:custGeom>
              <a:avLst/>
              <a:gdLst>
                <a:gd name="connsiteX0" fmla="*/ 110323 w 110340"/>
                <a:gd name="connsiteY0" fmla="*/ 62716 h 134383"/>
                <a:gd name="connsiteX1" fmla="*/ 56972 w 110340"/>
                <a:gd name="connsiteY1" fmla="*/ 133874 h 134383"/>
                <a:gd name="connsiteX2" fmla="*/ 53404 w 110340"/>
                <a:gd name="connsiteY2" fmla="*/ 133874 h 134383"/>
                <a:gd name="connsiteX3" fmla="*/ 52 w 110340"/>
                <a:gd name="connsiteY3" fmla="*/ 62716 h 134383"/>
                <a:gd name="connsiteX4" fmla="*/ 52 w 110340"/>
                <a:gd name="connsiteY4" fmla="*/ 19582 h 134383"/>
                <a:gd name="connsiteX5" fmla="*/ 2890 w 110340"/>
                <a:gd name="connsiteY5" fmla="*/ 15492 h 134383"/>
                <a:gd name="connsiteX6" fmla="*/ 3447 w 110340"/>
                <a:gd name="connsiteY6" fmla="*/ 15440 h 134383"/>
                <a:gd name="connsiteX7" fmla="*/ 55197 w 110340"/>
                <a:gd name="connsiteY7" fmla="*/ 0 h 134383"/>
                <a:gd name="connsiteX8" fmla="*/ 106946 w 110340"/>
                <a:gd name="connsiteY8" fmla="*/ 15440 h 134383"/>
                <a:gd name="connsiteX9" fmla="*/ 110341 w 110340"/>
                <a:gd name="connsiteY9" fmla="*/ 18886 h 134383"/>
                <a:gd name="connsiteX10" fmla="*/ 110341 w 110340"/>
                <a:gd name="connsiteY10" fmla="*/ 62699 h 13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340" h="134383">
                  <a:moveTo>
                    <a:pt x="110323" y="62716"/>
                  </a:moveTo>
                  <a:cubicBezTo>
                    <a:pt x="110323" y="98939"/>
                    <a:pt x="66546" y="128008"/>
                    <a:pt x="56972" y="133874"/>
                  </a:cubicBezTo>
                  <a:cubicBezTo>
                    <a:pt x="55875" y="134553"/>
                    <a:pt x="54500" y="134553"/>
                    <a:pt x="53404" y="133874"/>
                  </a:cubicBezTo>
                  <a:cubicBezTo>
                    <a:pt x="43813" y="128008"/>
                    <a:pt x="52" y="98939"/>
                    <a:pt x="52" y="62716"/>
                  </a:cubicBezTo>
                  <a:lnTo>
                    <a:pt x="52" y="19582"/>
                  </a:lnTo>
                  <a:cubicBezTo>
                    <a:pt x="-278" y="17650"/>
                    <a:pt x="992" y="15823"/>
                    <a:pt x="2890" y="15492"/>
                  </a:cubicBezTo>
                  <a:cubicBezTo>
                    <a:pt x="3081" y="15457"/>
                    <a:pt x="3255" y="15440"/>
                    <a:pt x="3447" y="15440"/>
                  </a:cubicBezTo>
                  <a:cubicBezTo>
                    <a:pt x="37546" y="14830"/>
                    <a:pt x="29748" y="0"/>
                    <a:pt x="55197" y="0"/>
                  </a:cubicBezTo>
                  <a:cubicBezTo>
                    <a:pt x="80645" y="0"/>
                    <a:pt x="72847" y="14830"/>
                    <a:pt x="106946" y="15440"/>
                  </a:cubicBezTo>
                  <a:cubicBezTo>
                    <a:pt x="108809" y="15492"/>
                    <a:pt x="110288" y="17006"/>
                    <a:pt x="110341" y="18886"/>
                  </a:cubicBezTo>
                  <a:lnTo>
                    <a:pt x="110341" y="62699"/>
                  </a:lnTo>
                  <a:close/>
                </a:path>
              </a:pathLst>
            </a:custGeom>
            <a:gradFill>
              <a:gsLst>
                <a:gs pos="0">
                  <a:srgbClr val="0078D4"/>
                </a:gs>
                <a:gs pos="6000">
                  <a:srgbClr val="0A7CD7"/>
                </a:gs>
                <a:gs pos="34000">
                  <a:srgbClr val="2E8CE1"/>
                </a:gs>
                <a:gs pos="59000">
                  <a:srgbClr val="4897E9"/>
                </a:gs>
                <a:gs pos="82000">
                  <a:srgbClr val="589EED"/>
                </a:gs>
                <a:gs pos="100000">
                  <a:srgbClr val="5EA0EF"/>
                </a:gs>
              </a:gsLst>
              <a:lin ang="16200000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F64D7A9-00B3-DCC9-CC8E-6F0347382839}"/>
                </a:ext>
              </a:extLst>
            </p:cNvPr>
            <p:cNvSpPr txBox="1"/>
            <p:nvPr/>
          </p:nvSpPr>
          <p:spPr>
            <a:xfrm>
              <a:off x="3625102" y="2533312"/>
              <a:ext cx="646978" cy="33513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icrosoft </a:t>
              </a:r>
              <a:r>
                <a:rPr kumimoji="0" lang="en-US" sz="1200" b="0" i="0" u="none" strike="noStrike" kern="1200" cap="none" spc="-4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ntra</a:t>
              </a: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 ID</a:t>
              </a:r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9E6E1544-11E0-5E5D-9483-6930A101F0C7}"/>
                </a:ext>
              </a:extLst>
            </p:cNvPr>
            <p:cNvSpPr/>
            <p:nvPr/>
          </p:nvSpPr>
          <p:spPr>
            <a:xfrm>
              <a:off x="4852698" y="2206390"/>
              <a:ext cx="94914" cy="95279"/>
            </a:xfrm>
            <a:custGeom>
              <a:avLst/>
              <a:gdLst>
                <a:gd name="connsiteX0" fmla="*/ 94914 w 94914"/>
                <a:gd name="connsiteY0" fmla="*/ 47640 h 95279"/>
                <a:gd name="connsiteX1" fmla="*/ 47457 w 94914"/>
                <a:gd name="connsiteY1" fmla="*/ 95280 h 95279"/>
                <a:gd name="connsiteX2" fmla="*/ 0 w 94914"/>
                <a:gd name="connsiteY2" fmla="*/ 47640 h 95279"/>
                <a:gd name="connsiteX3" fmla="*/ 47457 w 94914"/>
                <a:gd name="connsiteY3" fmla="*/ 0 h 95279"/>
                <a:gd name="connsiteX4" fmla="*/ 94914 w 94914"/>
                <a:gd name="connsiteY4" fmla="*/ 47640 h 9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14" h="95279">
                  <a:moveTo>
                    <a:pt x="94914" y="47640"/>
                  </a:moveTo>
                  <a:cubicBezTo>
                    <a:pt x="94914" y="73950"/>
                    <a:pt x="73667" y="95280"/>
                    <a:pt x="47457" y="95280"/>
                  </a:cubicBezTo>
                  <a:cubicBezTo>
                    <a:pt x="21247" y="95280"/>
                    <a:pt x="0" y="73950"/>
                    <a:pt x="0" y="47640"/>
                  </a:cubicBezTo>
                  <a:cubicBezTo>
                    <a:pt x="0" y="21329"/>
                    <a:pt x="21247" y="0"/>
                    <a:pt x="47457" y="0"/>
                  </a:cubicBezTo>
                  <a:cubicBezTo>
                    <a:pt x="73667" y="0"/>
                    <a:pt x="94914" y="21329"/>
                    <a:pt x="94914" y="47640"/>
                  </a:cubicBezTo>
                  <a:close/>
                </a:path>
              </a:pathLst>
            </a:custGeom>
            <a:gradFill>
              <a:gsLst>
                <a:gs pos="0">
                  <a:srgbClr val="198AB3"/>
                </a:gs>
                <a:gs pos="16000">
                  <a:srgbClr val="1F9AC2"/>
                </a:gs>
                <a:gs pos="50000">
                  <a:srgbClr val="29BADE"/>
                </a:gs>
                <a:gs pos="80000">
                  <a:srgbClr val="30CDEF"/>
                </a:gs>
                <a:gs pos="100000">
                  <a:srgbClr val="32D4F5"/>
                </a:gs>
              </a:gsLst>
              <a:lin ang="16200000" scaled="1"/>
            </a:gra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84FF793B-4205-0EA5-0A67-3ECC7C85088E}"/>
                </a:ext>
              </a:extLst>
            </p:cNvPr>
            <p:cNvSpPr/>
            <p:nvPr/>
          </p:nvSpPr>
          <p:spPr>
            <a:xfrm>
              <a:off x="5009855" y="2156195"/>
              <a:ext cx="46362" cy="46727"/>
            </a:xfrm>
            <a:custGeom>
              <a:avLst/>
              <a:gdLst>
                <a:gd name="connsiteX0" fmla="*/ 46362 w 46362"/>
                <a:gd name="connsiteY0" fmla="*/ 23364 h 46727"/>
                <a:gd name="connsiteX1" fmla="*/ 23181 w 46362"/>
                <a:gd name="connsiteY1" fmla="*/ 46727 h 46727"/>
                <a:gd name="connsiteX2" fmla="*/ 0 w 46362"/>
                <a:gd name="connsiteY2" fmla="*/ 23364 h 46727"/>
                <a:gd name="connsiteX3" fmla="*/ 23181 w 46362"/>
                <a:gd name="connsiteY3" fmla="*/ 0 h 46727"/>
                <a:gd name="connsiteX4" fmla="*/ 46362 w 46362"/>
                <a:gd name="connsiteY4" fmla="*/ 23364 h 4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62" h="46727">
                  <a:moveTo>
                    <a:pt x="46362" y="23364"/>
                  </a:moveTo>
                  <a:cubicBezTo>
                    <a:pt x="46362" y="36267"/>
                    <a:pt x="35984" y="46727"/>
                    <a:pt x="23181" y="46727"/>
                  </a:cubicBezTo>
                  <a:cubicBezTo>
                    <a:pt x="10378" y="46727"/>
                    <a:pt x="0" y="36267"/>
                    <a:pt x="0" y="23364"/>
                  </a:cubicBezTo>
                  <a:cubicBezTo>
                    <a:pt x="0" y="10460"/>
                    <a:pt x="10378" y="0"/>
                    <a:pt x="23181" y="0"/>
                  </a:cubicBezTo>
                  <a:cubicBezTo>
                    <a:pt x="35984" y="0"/>
                    <a:pt x="46362" y="10460"/>
                    <a:pt x="46362" y="23364"/>
                  </a:cubicBezTo>
                  <a:close/>
                </a:path>
              </a:pathLst>
            </a:custGeom>
            <a:solidFill>
              <a:srgbClr val="32BEDD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E90A5B41-D5A4-C734-9747-A3B995683DED}"/>
                </a:ext>
              </a:extLst>
            </p:cNvPr>
            <p:cNvSpPr/>
            <p:nvPr/>
          </p:nvSpPr>
          <p:spPr>
            <a:xfrm>
              <a:off x="5009855" y="2232491"/>
              <a:ext cx="46362" cy="46727"/>
            </a:xfrm>
            <a:custGeom>
              <a:avLst/>
              <a:gdLst>
                <a:gd name="connsiteX0" fmla="*/ 46362 w 46362"/>
                <a:gd name="connsiteY0" fmla="*/ 23364 h 46727"/>
                <a:gd name="connsiteX1" fmla="*/ 23181 w 46362"/>
                <a:gd name="connsiteY1" fmla="*/ 46727 h 46727"/>
                <a:gd name="connsiteX2" fmla="*/ 0 w 46362"/>
                <a:gd name="connsiteY2" fmla="*/ 23364 h 46727"/>
                <a:gd name="connsiteX3" fmla="*/ 23181 w 46362"/>
                <a:gd name="connsiteY3" fmla="*/ 0 h 46727"/>
                <a:gd name="connsiteX4" fmla="*/ 46362 w 46362"/>
                <a:gd name="connsiteY4" fmla="*/ 23364 h 4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62" h="46727">
                  <a:moveTo>
                    <a:pt x="46362" y="23364"/>
                  </a:moveTo>
                  <a:cubicBezTo>
                    <a:pt x="46362" y="36267"/>
                    <a:pt x="35984" y="46727"/>
                    <a:pt x="23181" y="46727"/>
                  </a:cubicBezTo>
                  <a:cubicBezTo>
                    <a:pt x="10378" y="46727"/>
                    <a:pt x="0" y="36267"/>
                    <a:pt x="0" y="23364"/>
                  </a:cubicBezTo>
                  <a:cubicBezTo>
                    <a:pt x="0" y="10460"/>
                    <a:pt x="10378" y="0"/>
                    <a:pt x="23181" y="0"/>
                  </a:cubicBezTo>
                  <a:cubicBezTo>
                    <a:pt x="35984" y="0"/>
                    <a:pt x="46362" y="10460"/>
                    <a:pt x="46362" y="23364"/>
                  </a:cubicBezTo>
                  <a:close/>
                </a:path>
              </a:pathLst>
            </a:custGeom>
            <a:solidFill>
              <a:srgbClr val="32BEDD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4F21AA44-B3D2-9222-B6A6-280AEC38CA03}"/>
                </a:ext>
              </a:extLst>
            </p:cNvPr>
            <p:cNvSpPr/>
            <p:nvPr/>
          </p:nvSpPr>
          <p:spPr>
            <a:xfrm>
              <a:off x="5009855" y="2308605"/>
              <a:ext cx="46362" cy="46727"/>
            </a:xfrm>
            <a:custGeom>
              <a:avLst/>
              <a:gdLst>
                <a:gd name="connsiteX0" fmla="*/ 46362 w 46362"/>
                <a:gd name="connsiteY0" fmla="*/ 23364 h 46727"/>
                <a:gd name="connsiteX1" fmla="*/ 23181 w 46362"/>
                <a:gd name="connsiteY1" fmla="*/ 46727 h 46727"/>
                <a:gd name="connsiteX2" fmla="*/ 0 w 46362"/>
                <a:gd name="connsiteY2" fmla="*/ 23364 h 46727"/>
                <a:gd name="connsiteX3" fmla="*/ 23181 w 46362"/>
                <a:gd name="connsiteY3" fmla="*/ 0 h 46727"/>
                <a:gd name="connsiteX4" fmla="*/ 46362 w 46362"/>
                <a:gd name="connsiteY4" fmla="*/ 23364 h 4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62" h="46727">
                  <a:moveTo>
                    <a:pt x="46362" y="23364"/>
                  </a:moveTo>
                  <a:cubicBezTo>
                    <a:pt x="46362" y="36267"/>
                    <a:pt x="35984" y="46727"/>
                    <a:pt x="23181" y="46727"/>
                  </a:cubicBezTo>
                  <a:cubicBezTo>
                    <a:pt x="10378" y="46727"/>
                    <a:pt x="0" y="36267"/>
                    <a:pt x="0" y="23364"/>
                  </a:cubicBezTo>
                  <a:cubicBezTo>
                    <a:pt x="0" y="10460"/>
                    <a:pt x="10378" y="0"/>
                    <a:pt x="23181" y="0"/>
                  </a:cubicBezTo>
                  <a:cubicBezTo>
                    <a:pt x="35984" y="0"/>
                    <a:pt x="46362" y="10460"/>
                    <a:pt x="46362" y="23364"/>
                  </a:cubicBezTo>
                  <a:close/>
                </a:path>
              </a:pathLst>
            </a:custGeom>
            <a:solidFill>
              <a:srgbClr val="32BEDD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A43530E6-6C4F-B9BD-D920-7CF38B9CA68F}"/>
                </a:ext>
              </a:extLst>
            </p:cNvPr>
            <p:cNvSpPr/>
            <p:nvPr/>
          </p:nvSpPr>
          <p:spPr>
            <a:xfrm>
              <a:off x="4956922" y="2195256"/>
              <a:ext cx="46362" cy="46727"/>
            </a:xfrm>
            <a:custGeom>
              <a:avLst/>
              <a:gdLst>
                <a:gd name="connsiteX0" fmla="*/ 46362 w 46362"/>
                <a:gd name="connsiteY0" fmla="*/ 23364 h 46727"/>
                <a:gd name="connsiteX1" fmla="*/ 23181 w 46362"/>
                <a:gd name="connsiteY1" fmla="*/ 46727 h 46727"/>
                <a:gd name="connsiteX2" fmla="*/ 0 w 46362"/>
                <a:gd name="connsiteY2" fmla="*/ 23364 h 46727"/>
                <a:gd name="connsiteX3" fmla="*/ 23181 w 46362"/>
                <a:gd name="connsiteY3" fmla="*/ 0 h 46727"/>
                <a:gd name="connsiteX4" fmla="*/ 46362 w 46362"/>
                <a:gd name="connsiteY4" fmla="*/ 23364 h 4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62" h="46727">
                  <a:moveTo>
                    <a:pt x="46362" y="23364"/>
                  </a:moveTo>
                  <a:cubicBezTo>
                    <a:pt x="46362" y="36267"/>
                    <a:pt x="35984" y="46727"/>
                    <a:pt x="23181" y="46727"/>
                  </a:cubicBezTo>
                  <a:cubicBezTo>
                    <a:pt x="10378" y="46727"/>
                    <a:pt x="0" y="36267"/>
                    <a:pt x="0" y="23364"/>
                  </a:cubicBezTo>
                  <a:cubicBezTo>
                    <a:pt x="0" y="10460"/>
                    <a:pt x="10378" y="0"/>
                    <a:pt x="23181" y="0"/>
                  </a:cubicBezTo>
                  <a:cubicBezTo>
                    <a:pt x="35984" y="0"/>
                    <a:pt x="46362" y="10460"/>
                    <a:pt x="46362" y="23364"/>
                  </a:cubicBezTo>
                  <a:close/>
                </a:path>
              </a:pathLst>
            </a:custGeom>
            <a:solidFill>
              <a:srgbClr val="50E6FF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42D19457-CE4A-C36F-BB5B-58EADF2A3F1B}"/>
                </a:ext>
              </a:extLst>
            </p:cNvPr>
            <p:cNvSpPr/>
            <p:nvPr/>
          </p:nvSpPr>
          <p:spPr>
            <a:xfrm>
              <a:off x="4956922" y="2271552"/>
              <a:ext cx="46362" cy="46727"/>
            </a:xfrm>
            <a:custGeom>
              <a:avLst/>
              <a:gdLst>
                <a:gd name="connsiteX0" fmla="*/ 46362 w 46362"/>
                <a:gd name="connsiteY0" fmla="*/ 23364 h 46727"/>
                <a:gd name="connsiteX1" fmla="*/ 23181 w 46362"/>
                <a:gd name="connsiteY1" fmla="*/ 46727 h 46727"/>
                <a:gd name="connsiteX2" fmla="*/ 0 w 46362"/>
                <a:gd name="connsiteY2" fmla="*/ 23364 h 46727"/>
                <a:gd name="connsiteX3" fmla="*/ 23181 w 46362"/>
                <a:gd name="connsiteY3" fmla="*/ 0 h 46727"/>
                <a:gd name="connsiteX4" fmla="*/ 46362 w 46362"/>
                <a:gd name="connsiteY4" fmla="*/ 23364 h 4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62" h="46727">
                  <a:moveTo>
                    <a:pt x="46362" y="23364"/>
                  </a:moveTo>
                  <a:cubicBezTo>
                    <a:pt x="46362" y="36267"/>
                    <a:pt x="35984" y="46727"/>
                    <a:pt x="23181" y="46727"/>
                  </a:cubicBezTo>
                  <a:cubicBezTo>
                    <a:pt x="10378" y="46727"/>
                    <a:pt x="0" y="36267"/>
                    <a:pt x="0" y="23364"/>
                  </a:cubicBezTo>
                  <a:cubicBezTo>
                    <a:pt x="0" y="10460"/>
                    <a:pt x="10378" y="0"/>
                    <a:pt x="23181" y="0"/>
                  </a:cubicBezTo>
                  <a:cubicBezTo>
                    <a:pt x="35984" y="0"/>
                    <a:pt x="46362" y="10460"/>
                    <a:pt x="46362" y="23364"/>
                  </a:cubicBezTo>
                  <a:close/>
                </a:path>
              </a:pathLst>
            </a:custGeom>
            <a:solidFill>
              <a:srgbClr val="50E6FF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96389997-D467-915E-4EB0-CD26ED1AE3F1}"/>
                </a:ext>
              </a:extLst>
            </p:cNvPr>
            <p:cNvSpPr/>
            <p:nvPr/>
          </p:nvSpPr>
          <p:spPr>
            <a:xfrm>
              <a:off x="4764172" y="2101611"/>
              <a:ext cx="231445" cy="92731"/>
            </a:xfrm>
            <a:custGeom>
              <a:avLst/>
              <a:gdLst>
                <a:gd name="connsiteX0" fmla="*/ 25736 w 231445"/>
                <a:gd name="connsiteY0" fmla="*/ 92732 h 92731"/>
                <a:gd name="connsiteX1" fmla="*/ 27379 w 231445"/>
                <a:gd name="connsiteY1" fmla="*/ 91271 h 92731"/>
                <a:gd name="connsiteX2" fmla="*/ 133610 w 231445"/>
                <a:gd name="connsiteY2" fmla="*/ 29394 h 92731"/>
                <a:gd name="connsiteX3" fmla="*/ 224874 w 231445"/>
                <a:gd name="connsiteY3" fmla="*/ 80137 h 92731"/>
                <a:gd name="connsiteX4" fmla="*/ 230859 w 231445"/>
                <a:gd name="connsiteY4" fmla="*/ 78534 h 92731"/>
                <a:gd name="connsiteX5" fmla="*/ 231445 w 231445"/>
                <a:gd name="connsiteY5" fmla="*/ 76304 h 92731"/>
                <a:gd name="connsiteX6" fmla="*/ 231445 w 231445"/>
                <a:gd name="connsiteY6" fmla="*/ 56409 h 92731"/>
                <a:gd name="connsiteX7" fmla="*/ 229255 w 231445"/>
                <a:gd name="connsiteY7" fmla="*/ 52575 h 92731"/>
                <a:gd name="connsiteX8" fmla="*/ 133793 w 231445"/>
                <a:gd name="connsiteY8" fmla="*/ 7 h 92731"/>
                <a:gd name="connsiteX9" fmla="*/ 2008 w 231445"/>
                <a:gd name="connsiteY9" fmla="*/ 75574 h 92731"/>
                <a:gd name="connsiteX10" fmla="*/ 0 w 231445"/>
                <a:gd name="connsiteY10" fmla="*/ 77034 h 9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445" h="92731">
                  <a:moveTo>
                    <a:pt x="25736" y="92732"/>
                  </a:moveTo>
                  <a:cubicBezTo>
                    <a:pt x="26151" y="92113"/>
                    <a:pt x="26716" y="91611"/>
                    <a:pt x="27379" y="91271"/>
                  </a:cubicBezTo>
                  <a:lnTo>
                    <a:pt x="133610" y="29394"/>
                  </a:lnTo>
                  <a:cubicBezTo>
                    <a:pt x="135071" y="29394"/>
                    <a:pt x="224874" y="80137"/>
                    <a:pt x="224874" y="80137"/>
                  </a:cubicBezTo>
                  <a:cubicBezTo>
                    <a:pt x="226970" y="81347"/>
                    <a:pt x="229649" y="80629"/>
                    <a:pt x="230859" y="78534"/>
                  </a:cubicBezTo>
                  <a:cubicBezTo>
                    <a:pt x="231250" y="77856"/>
                    <a:pt x="231453" y="77086"/>
                    <a:pt x="231445" y="76304"/>
                  </a:cubicBezTo>
                  <a:lnTo>
                    <a:pt x="231445" y="56409"/>
                  </a:lnTo>
                  <a:cubicBezTo>
                    <a:pt x="231460" y="54829"/>
                    <a:pt x="230622" y="53365"/>
                    <a:pt x="229255" y="52575"/>
                  </a:cubicBezTo>
                  <a:cubicBezTo>
                    <a:pt x="229255" y="52575"/>
                    <a:pt x="135071" y="-723"/>
                    <a:pt x="133793" y="7"/>
                  </a:cubicBezTo>
                  <a:lnTo>
                    <a:pt x="2008" y="75574"/>
                  </a:lnTo>
                  <a:lnTo>
                    <a:pt x="0" y="77034"/>
                  </a:lnTo>
                  <a:close/>
                </a:path>
              </a:pathLst>
            </a:custGeom>
            <a:solidFill>
              <a:srgbClr val="949494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61D0C2FB-2100-9DA5-8AA9-733D819054E2}"/>
                </a:ext>
              </a:extLst>
            </p:cNvPr>
            <p:cNvSpPr/>
            <p:nvPr/>
          </p:nvSpPr>
          <p:spPr>
            <a:xfrm>
              <a:off x="4900155" y="2331505"/>
              <a:ext cx="95471" cy="80004"/>
            </a:xfrm>
            <a:custGeom>
              <a:avLst/>
              <a:gdLst>
                <a:gd name="connsiteX0" fmla="*/ 88526 w 95471"/>
                <a:gd name="connsiteY0" fmla="*/ 829 h 80004"/>
                <a:gd name="connsiteX1" fmla="*/ 2008 w 95471"/>
                <a:gd name="connsiteY1" fmla="*/ 50659 h 80004"/>
                <a:gd name="connsiteX2" fmla="*/ 0 w 95471"/>
                <a:gd name="connsiteY2" fmla="*/ 50659 h 80004"/>
                <a:gd name="connsiteX3" fmla="*/ 0 w 95471"/>
                <a:gd name="connsiteY3" fmla="*/ 79863 h 80004"/>
                <a:gd name="connsiteX4" fmla="*/ 2008 w 95471"/>
                <a:gd name="connsiteY4" fmla="*/ 79863 h 80004"/>
                <a:gd name="connsiteX5" fmla="*/ 93272 w 95471"/>
                <a:gd name="connsiteY5" fmla="*/ 27660 h 80004"/>
                <a:gd name="connsiteX6" fmla="*/ 95462 w 95471"/>
                <a:gd name="connsiteY6" fmla="*/ 24010 h 80004"/>
                <a:gd name="connsiteX7" fmla="*/ 95462 w 95471"/>
                <a:gd name="connsiteY7" fmla="*/ 4662 h 80004"/>
                <a:gd name="connsiteX8" fmla="*/ 91372 w 95471"/>
                <a:gd name="connsiteY8" fmla="*/ 9 h 80004"/>
                <a:gd name="connsiteX9" fmla="*/ 88526 w 95471"/>
                <a:gd name="connsiteY9" fmla="*/ 829 h 8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471" h="80004">
                  <a:moveTo>
                    <a:pt x="88526" y="829"/>
                  </a:moveTo>
                  <a:lnTo>
                    <a:pt x="2008" y="50659"/>
                  </a:lnTo>
                  <a:cubicBezTo>
                    <a:pt x="1343" y="50765"/>
                    <a:pt x="665" y="50765"/>
                    <a:pt x="0" y="50659"/>
                  </a:cubicBezTo>
                  <a:lnTo>
                    <a:pt x="0" y="79863"/>
                  </a:lnTo>
                  <a:cubicBezTo>
                    <a:pt x="656" y="80051"/>
                    <a:pt x="1352" y="80051"/>
                    <a:pt x="2008" y="79863"/>
                  </a:cubicBezTo>
                  <a:lnTo>
                    <a:pt x="93272" y="27660"/>
                  </a:lnTo>
                  <a:cubicBezTo>
                    <a:pt x="94584" y="26905"/>
                    <a:pt x="95413" y="25523"/>
                    <a:pt x="95462" y="24010"/>
                  </a:cubicBezTo>
                  <a:lnTo>
                    <a:pt x="95462" y="4662"/>
                  </a:lnTo>
                  <a:cubicBezTo>
                    <a:pt x="95617" y="2247"/>
                    <a:pt x="93786" y="164"/>
                    <a:pt x="91372" y="9"/>
                  </a:cubicBezTo>
                  <a:cubicBezTo>
                    <a:pt x="90357" y="-57"/>
                    <a:pt x="89351" y="234"/>
                    <a:pt x="88526" y="829"/>
                  </a:cubicBezTo>
                  <a:close/>
                </a:path>
              </a:pathLst>
            </a:custGeom>
            <a:solidFill>
              <a:srgbClr val="949494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518559FD-F276-BA63-29EC-B53FDF2E9170}"/>
                </a:ext>
              </a:extLst>
            </p:cNvPr>
            <p:cNvSpPr/>
            <p:nvPr/>
          </p:nvSpPr>
          <p:spPr>
            <a:xfrm>
              <a:off x="4764033" y="2178646"/>
              <a:ext cx="136122" cy="232862"/>
            </a:xfrm>
            <a:custGeom>
              <a:avLst/>
              <a:gdLst>
                <a:gd name="connsiteX0" fmla="*/ 136123 w 136122"/>
                <a:gd name="connsiteY0" fmla="*/ 204066 h 232862"/>
                <a:gd name="connsiteX1" fmla="*/ 133750 w 136122"/>
                <a:gd name="connsiteY1" fmla="*/ 204066 h 232862"/>
                <a:gd name="connsiteX2" fmla="*/ 27519 w 136122"/>
                <a:gd name="connsiteY2" fmla="*/ 141459 h 232862"/>
                <a:gd name="connsiteX3" fmla="*/ 25328 w 136122"/>
                <a:gd name="connsiteY3" fmla="*/ 137808 h 232862"/>
                <a:gd name="connsiteX4" fmla="*/ 25328 w 136122"/>
                <a:gd name="connsiteY4" fmla="*/ 17888 h 232862"/>
                <a:gd name="connsiteX5" fmla="*/ 25328 w 136122"/>
                <a:gd name="connsiteY5" fmla="*/ 15697 h 232862"/>
                <a:gd name="connsiteX6" fmla="*/ 140 w 136122"/>
                <a:gd name="connsiteY6" fmla="*/ 0 h 232862"/>
                <a:gd name="connsiteX7" fmla="*/ 140 w 136122"/>
                <a:gd name="connsiteY7" fmla="*/ 2373 h 232862"/>
                <a:gd name="connsiteX8" fmla="*/ 140 w 136122"/>
                <a:gd name="connsiteY8" fmla="*/ 153323 h 232862"/>
                <a:gd name="connsiteX9" fmla="*/ 2147 w 136122"/>
                <a:gd name="connsiteY9" fmla="*/ 157156 h 232862"/>
                <a:gd name="connsiteX10" fmla="*/ 133932 w 136122"/>
                <a:gd name="connsiteY10" fmla="*/ 232723 h 232862"/>
                <a:gd name="connsiteX11" fmla="*/ 136123 w 136122"/>
                <a:gd name="connsiteY11" fmla="*/ 232723 h 23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122" h="232862">
                  <a:moveTo>
                    <a:pt x="136123" y="204066"/>
                  </a:moveTo>
                  <a:cubicBezTo>
                    <a:pt x="135341" y="204234"/>
                    <a:pt x="134532" y="204234"/>
                    <a:pt x="133750" y="204066"/>
                  </a:cubicBezTo>
                  <a:lnTo>
                    <a:pt x="27519" y="141459"/>
                  </a:lnTo>
                  <a:cubicBezTo>
                    <a:pt x="26151" y="140762"/>
                    <a:pt x="25300" y="139344"/>
                    <a:pt x="25328" y="137808"/>
                  </a:cubicBezTo>
                  <a:lnTo>
                    <a:pt x="25328" y="17888"/>
                  </a:lnTo>
                  <a:cubicBezTo>
                    <a:pt x="25164" y="17167"/>
                    <a:pt x="25164" y="16418"/>
                    <a:pt x="25328" y="15697"/>
                  </a:cubicBezTo>
                  <a:lnTo>
                    <a:pt x="140" y="0"/>
                  </a:lnTo>
                  <a:cubicBezTo>
                    <a:pt x="-47" y="780"/>
                    <a:pt x="-47" y="1593"/>
                    <a:pt x="140" y="2373"/>
                  </a:cubicBezTo>
                  <a:lnTo>
                    <a:pt x="140" y="153323"/>
                  </a:lnTo>
                  <a:cubicBezTo>
                    <a:pt x="87" y="154866"/>
                    <a:pt x="850" y="156322"/>
                    <a:pt x="2147" y="157156"/>
                  </a:cubicBezTo>
                  <a:lnTo>
                    <a:pt x="133932" y="232723"/>
                  </a:lnTo>
                  <a:cubicBezTo>
                    <a:pt x="134651" y="232909"/>
                    <a:pt x="135405" y="232909"/>
                    <a:pt x="136123" y="232723"/>
                  </a:cubicBezTo>
                  <a:close/>
                </a:path>
              </a:pathLst>
            </a:custGeom>
            <a:solidFill>
              <a:srgbClr val="B3B3B3"/>
            </a:solidFill>
            <a:ln w="179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B2975F4-79F0-EF7C-54B2-43AED358524C}"/>
                </a:ext>
              </a:extLst>
            </p:cNvPr>
            <p:cNvSpPr txBox="1"/>
            <p:nvPr/>
          </p:nvSpPr>
          <p:spPr>
            <a:xfrm>
              <a:off x="4498715" y="2533312"/>
              <a:ext cx="822960" cy="33513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</a:t>
              </a:r>
              <a:b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Policy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D5EED9A-3304-E4D8-EB00-726939E4B2D6}"/>
                </a:ext>
              </a:extLst>
            </p:cNvPr>
            <p:cNvSpPr txBox="1"/>
            <p:nvPr/>
          </p:nvSpPr>
          <p:spPr>
            <a:xfrm>
              <a:off x="5408103" y="2533312"/>
              <a:ext cx="822960" cy="33513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icrosoft</a:t>
              </a:r>
              <a:b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efender</a:t>
              </a:r>
            </a:p>
          </p:txBody>
        </p:sp>
        <p:grpSp>
          <p:nvGrpSpPr>
            <p:cNvPr id="127" name="Graphic 62">
              <a:extLst>
                <a:ext uri="{FF2B5EF4-FFF2-40B4-BE49-F238E27FC236}">
                  <a16:creationId xmlns:a16="http://schemas.microsoft.com/office/drawing/2014/main" id="{C1F528F1-A1EE-450E-DB41-841B9FD6E197}"/>
                </a:ext>
              </a:extLst>
            </p:cNvPr>
            <p:cNvGrpSpPr/>
            <p:nvPr/>
          </p:nvGrpSpPr>
          <p:grpSpPr>
            <a:xfrm>
              <a:off x="5697880" y="2097888"/>
              <a:ext cx="243405" cy="298656"/>
              <a:chOff x="6072012" y="3360594"/>
              <a:chExt cx="392005" cy="480988"/>
            </a:xfrm>
          </p:grpSpPr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7B21E5C0-E27F-495D-E354-1B390ABD2C9B}"/>
                  </a:ext>
                </a:extLst>
              </p:cNvPr>
              <p:cNvSpPr/>
              <p:nvPr/>
            </p:nvSpPr>
            <p:spPr>
              <a:xfrm>
                <a:off x="6072012" y="3360594"/>
                <a:ext cx="392005" cy="480988"/>
              </a:xfrm>
              <a:custGeom>
                <a:avLst/>
                <a:gdLst>
                  <a:gd name="connsiteX0" fmla="*/ 392006 w 392005"/>
                  <a:gd name="connsiteY0" fmla="*/ 224520 h 480988"/>
                  <a:gd name="connsiteX1" fmla="*/ 202453 w 392005"/>
                  <a:gd name="connsiteY1" fmla="*/ 479143 h 480988"/>
                  <a:gd name="connsiteX2" fmla="*/ 189552 w 392005"/>
                  <a:gd name="connsiteY2" fmla="*/ 479143 h 480988"/>
                  <a:gd name="connsiteX3" fmla="*/ 0 w 392005"/>
                  <a:gd name="connsiteY3" fmla="*/ 224520 h 480988"/>
                  <a:gd name="connsiteX4" fmla="*/ 0 w 392005"/>
                  <a:gd name="connsiteY4" fmla="*/ 68918 h 480988"/>
                  <a:gd name="connsiteX5" fmla="*/ 12165 w 392005"/>
                  <a:gd name="connsiteY5" fmla="*/ 56583 h 480988"/>
                  <a:gd name="connsiteX6" fmla="*/ 196059 w 392005"/>
                  <a:gd name="connsiteY6" fmla="*/ 0 h 480988"/>
                  <a:gd name="connsiteX7" fmla="*/ 379953 w 392005"/>
                  <a:gd name="connsiteY7" fmla="*/ 56583 h 480988"/>
                  <a:gd name="connsiteX8" fmla="*/ 391977 w 392005"/>
                  <a:gd name="connsiteY8" fmla="*/ 68918 h 480988"/>
                  <a:gd name="connsiteX9" fmla="*/ 391977 w 392005"/>
                  <a:gd name="connsiteY9" fmla="*/ 224520 h 480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2005" h="480988">
                    <a:moveTo>
                      <a:pt x="392006" y="224520"/>
                    </a:moveTo>
                    <a:cubicBezTo>
                      <a:pt x="392006" y="353869"/>
                      <a:pt x="236403" y="458009"/>
                      <a:pt x="202453" y="479143"/>
                    </a:cubicBezTo>
                    <a:cubicBezTo>
                      <a:pt x="198505" y="481604"/>
                      <a:pt x="193500" y="481604"/>
                      <a:pt x="189552" y="479143"/>
                    </a:cubicBezTo>
                    <a:cubicBezTo>
                      <a:pt x="155603" y="458038"/>
                      <a:pt x="0" y="353897"/>
                      <a:pt x="0" y="224520"/>
                    </a:cubicBezTo>
                    <a:lnTo>
                      <a:pt x="0" y="68918"/>
                    </a:lnTo>
                    <a:cubicBezTo>
                      <a:pt x="-16" y="62165"/>
                      <a:pt x="5413" y="56660"/>
                      <a:pt x="12165" y="56583"/>
                    </a:cubicBezTo>
                    <a:cubicBezTo>
                      <a:pt x="133252" y="53358"/>
                      <a:pt x="105357" y="0"/>
                      <a:pt x="196059" y="0"/>
                    </a:cubicBezTo>
                    <a:cubicBezTo>
                      <a:pt x="286762" y="0"/>
                      <a:pt x="258895" y="53442"/>
                      <a:pt x="379953" y="56583"/>
                    </a:cubicBezTo>
                    <a:cubicBezTo>
                      <a:pt x="386650" y="56737"/>
                      <a:pt x="391994" y="62219"/>
                      <a:pt x="391977" y="68918"/>
                    </a:cubicBezTo>
                    <a:lnTo>
                      <a:pt x="391977" y="224520"/>
                    </a:lnTo>
                    <a:close/>
                  </a:path>
                </a:pathLst>
              </a:custGeom>
              <a:gradFill>
                <a:gsLst>
                  <a:gs pos="0">
                    <a:srgbClr val="59B8FF"/>
                  </a:gs>
                  <a:gs pos="50000">
                    <a:srgbClr val="54A2FC"/>
                  </a:gs>
                  <a:gs pos="100000">
                    <a:srgbClr val="508DFA"/>
                  </a:gs>
                </a:gsLst>
                <a:lin ang="3095051" scaled="1"/>
              </a:gradFill>
              <a:ln w="280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9" name="Freeform 128">
                <a:extLst>
                  <a:ext uri="{FF2B5EF4-FFF2-40B4-BE49-F238E27FC236}">
                    <a16:creationId xmlns:a16="http://schemas.microsoft.com/office/drawing/2014/main" id="{16987757-C7AC-BF6A-209A-05C80994CF11}"/>
                  </a:ext>
                </a:extLst>
              </p:cNvPr>
              <p:cNvSpPr/>
              <p:nvPr/>
            </p:nvSpPr>
            <p:spPr>
              <a:xfrm>
                <a:off x="6088364" y="3380568"/>
                <a:ext cx="359413" cy="441175"/>
              </a:xfrm>
              <a:custGeom>
                <a:avLst/>
                <a:gdLst>
                  <a:gd name="connsiteX0" fmla="*/ 359414 w 359413"/>
                  <a:gd name="connsiteY0" fmla="*/ 205990 h 441175"/>
                  <a:gd name="connsiteX1" fmla="*/ 185620 w 359413"/>
                  <a:gd name="connsiteY1" fmla="*/ 439478 h 441175"/>
                  <a:gd name="connsiteX2" fmla="*/ 173794 w 359413"/>
                  <a:gd name="connsiteY2" fmla="*/ 439478 h 441175"/>
                  <a:gd name="connsiteX3" fmla="*/ 0 w 359413"/>
                  <a:gd name="connsiteY3" fmla="*/ 205990 h 441175"/>
                  <a:gd name="connsiteX4" fmla="*/ 0 w 359413"/>
                  <a:gd name="connsiteY4" fmla="*/ 63260 h 441175"/>
                  <a:gd name="connsiteX5" fmla="*/ 11034 w 359413"/>
                  <a:gd name="connsiteY5" fmla="*/ 51943 h 441175"/>
                  <a:gd name="connsiteX6" fmla="*/ 179707 w 359413"/>
                  <a:gd name="connsiteY6" fmla="*/ 0 h 441175"/>
                  <a:gd name="connsiteX7" fmla="*/ 348380 w 359413"/>
                  <a:gd name="connsiteY7" fmla="*/ 51943 h 441175"/>
                  <a:gd name="connsiteX8" fmla="*/ 356189 w 359413"/>
                  <a:gd name="connsiteY8" fmla="*/ 55366 h 441175"/>
                  <a:gd name="connsiteX9" fmla="*/ 359414 w 359413"/>
                  <a:gd name="connsiteY9" fmla="*/ 63260 h 441175"/>
                  <a:gd name="connsiteX10" fmla="*/ 359414 w 359413"/>
                  <a:gd name="connsiteY10" fmla="*/ 205990 h 441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9413" h="441175">
                    <a:moveTo>
                      <a:pt x="359414" y="205990"/>
                    </a:moveTo>
                    <a:cubicBezTo>
                      <a:pt x="359414" y="324587"/>
                      <a:pt x="216655" y="420099"/>
                      <a:pt x="185620" y="439478"/>
                    </a:cubicBezTo>
                    <a:cubicBezTo>
                      <a:pt x="182003" y="441742"/>
                      <a:pt x="177411" y="441742"/>
                      <a:pt x="173794" y="439478"/>
                    </a:cubicBezTo>
                    <a:cubicBezTo>
                      <a:pt x="142673" y="420099"/>
                      <a:pt x="0" y="324531"/>
                      <a:pt x="0" y="205990"/>
                    </a:cubicBezTo>
                    <a:lnTo>
                      <a:pt x="0" y="63260"/>
                    </a:lnTo>
                    <a:cubicBezTo>
                      <a:pt x="-2" y="57118"/>
                      <a:pt x="4894" y="52097"/>
                      <a:pt x="11034" y="51943"/>
                    </a:cubicBezTo>
                    <a:cubicBezTo>
                      <a:pt x="122077" y="48944"/>
                      <a:pt x="96502" y="0"/>
                      <a:pt x="179707" y="0"/>
                    </a:cubicBezTo>
                    <a:cubicBezTo>
                      <a:pt x="262912" y="0"/>
                      <a:pt x="237336" y="48944"/>
                      <a:pt x="348380" y="51943"/>
                    </a:cubicBezTo>
                    <a:cubicBezTo>
                      <a:pt x="351331" y="52022"/>
                      <a:pt x="354132" y="53251"/>
                      <a:pt x="356189" y="55366"/>
                    </a:cubicBezTo>
                    <a:cubicBezTo>
                      <a:pt x="358251" y="57476"/>
                      <a:pt x="359408" y="60308"/>
                      <a:pt x="359414" y="63260"/>
                    </a:cubicBezTo>
                    <a:lnTo>
                      <a:pt x="359414" y="205990"/>
                    </a:lnTo>
                    <a:close/>
                  </a:path>
                </a:pathLst>
              </a:custGeom>
              <a:gradFill>
                <a:gsLst>
                  <a:gs pos="0">
                    <a:srgbClr val="648EFA"/>
                  </a:gs>
                  <a:gs pos="50000">
                    <a:srgbClr val="6EAEFC"/>
                  </a:gs>
                  <a:gs pos="100000">
                    <a:srgbClr val="79CFFF"/>
                  </a:gs>
                </a:gsLst>
                <a:lin ang="13790628" scaled="1"/>
              </a:gradFill>
              <a:ln w="280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30" name="Graphic 62">
                <a:extLst>
                  <a:ext uri="{FF2B5EF4-FFF2-40B4-BE49-F238E27FC236}">
                    <a16:creationId xmlns:a16="http://schemas.microsoft.com/office/drawing/2014/main" id="{4AA09EE4-A224-E74F-8D8A-56D43D4BFC9E}"/>
                  </a:ext>
                </a:extLst>
              </p:cNvPr>
              <p:cNvGrpSpPr/>
              <p:nvPr/>
            </p:nvGrpSpPr>
            <p:grpSpPr>
              <a:xfrm>
                <a:off x="6161299" y="3465782"/>
                <a:ext cx="227717" cy="247521"/>
                <a:chOff x="6161299" y="3465782"/>
                <a:chExt cx="227717" cy="247521"/>
              </a:xfrm>
            </p:grpSpPr>
            <p:sp>
              <p:nvSpPr>
                <p:cNvPr id="131" name="Freeform 130">
                  <a:extLst>
                    <a:ext uri="{FF2B5EF4-FFF2-40B4-BE49-F238E27FC236}">
                      <a16:creationId xmlns:a16="http://schemas.microsoft.com/office/drawing/2014/main" id="{4B3AB117-4BF0-5F83-77AE-F67E7106965E}"/>
                    </a:ext>
                  </a:extLst>
                </p:cNvPr>
                <p:cNvSpPr/>
                <p:nvPr/>
              </p:nvSpPr>
              <p:spPr>
                <a:xfrm>
                  <a:off x="6164751" y="3469261"/>
                  <a:ext cx="220927" cy="240476"/>
                </a:xfrm>
                <a:custGeom>
                  <a:avLst/>
                  <a:gdLst>
                    <a:gd name="connsiteX0" fmla="*/ 78395 w 220927"/>
                    <a:gd name="connsiteY0" fmla="*/ 60515 h 240476"/>
                    <a:gd name="connsiteX1" fmla="*/ 78395 w 220927"/>
                    <a:gd name="connsiteY1" fmla="*/ 10694 h 240476"/>
                    <a:gd name="connsiteX2" fmla="*/ 67701 w 220927"/>
                    <a:gd name="connsiteY2" fmla="*/ 0 h 240476"/>
                    <a:gd name="connsiteX3" fmla="*/ 10694 w 220927"/>
                    <a:gd name="connsiteY3" fmla="*/ 0 h 240476"/>
                    <a:gd name="connsiteX4" fmla="*/ 0 w 220927"/>
                    <a:gd name="connsiteY4" fmla="*/ 10694 h 240476"/>
                    <a:gd name="connsiteX5" fmla="*/ 0 w 220927"/>
                    <a:gd name="connsiteY5" fmla="*/ 10694 h 240476"/>
                    <a:gd name="connsiteX6" fmla="*/ 0 w 220927"/>
                    <a:gd name="connsiteY6" fmla="*/ 64674 h 240476"/>
                    <a:gd name="connsiteX7" fmla="*/ 10694 w 220927"/>
                    <a:gd name="connsiteY7" fmla="*/ 75368 h 240476"/>
                    <a:gd name="connsiteX8" fmla="*/ 63514 w 220927"/>
                    <a:gd name="connsiteY8" fmla="*/ 75368 h 240476"/>
                    <a:gd name="connsiteX9" fmla="*/ 71266 w 220927"/>
                    <a:gd name="connsiteY9" fmla="*/ 83092 h 240476"/>
                    <a:gd name="connsiteX10" fmla="*/ 71266 w 220927"/>
                    <a:gd name="connsiteY10" fmla="*/ 155207 h 240476"/>
                    <a:gd name="connsiteX11" fmla="*/ 69229 w 220927"/>
                    <a:gd name="connsiteY11" fmla="*/ 159733 h 240476"/>
                    <a:gd name="connsiteX12" fmla="*/ 63571 w 220927"/>
                    <a:gd name="connsiteY12" fmla="*/ 161516 h 240476"/>
                    <a:gd name="connsiteX13" fmla="*/ 10694 w 220927"/>
                    <a:gd name="connsiteY13" fmla="*/ 161516 h 240476"/>
                    <a:gd name="connsiteX14" fmla="*/ 0 w 220927"/>
                    <a:gd name="connsiteY14" fmla="*/ 172210 h 240476"/>
                    <a:gd name="connsiteX15" fmla="*/ 0 w 220927"/>
                    <a:gd name="connsiteY15" fmla="*/ 229783 h 240476"/>
                    <a:gd name="connsiteX16" fmla="*/ 10694 w 220927"/>
                    <a:gd name="connsiteY16" fmla="*/ 240477 h 240476"/>
                    <a:gd name="connsiteX17" fmla="*/ 67701 w 220927"/>
                    <a:gd name="connsiteY17" fmla="*/ 240477 h 240476"/>
                    <a:gd name="connsiteX18" fmla="*/ 78395 w 220927"/>
                    <a:gd name="connsiteY18" fmla="*/ 229783 h 240476"/>
                    <a:gd name="connsiteX19" fmla="*/ 78395 w 220927"/>
                    <a:gd name="connsiteY19" fmla="*/ 176397 h 240476"/>
                    <a:gd name="connsiteX20" fmla="*/ 86119 w 220927"/>
                    <a:gd name="connsiteY20" fmla="*/ 168673 h 240476"/>
                    <a:gd name="connsiteX21" fmla="*/ 86147 w 220927"/>
                    <a:gd name="connsiteY21" fmla="*/ 168673 h 240476"/>
                    <a:gd name="connsiteX22" fmla="*/ 162732 w 220927"/>
                    <a:gd name="connsiteY22" fmla="*/ 168673 h 240476"/>
                    <a:gd name="connsiteX23" fmla="*/ 173426 w 220927"/>
                    <a:gd name="connsiteY23" fmla="*/ 157979 h 240476"/>
                    <a:gd name="connsiteX24" fmla="*/ 173426 w 220927"/>
                    <a:gd name="connsiteY24" fmla="*/ 83092 h 240476"/>
                    <a:gd name="connsiteX25" fmla="*/ 181150 w 220927"/>
                    <a:gd name="connsiteY25" fmla="*/ 75368 h 240476"/>
                    <a:gd name="connsiteX26" fmla="*/ 181178 w 220927"/>
                    <a:gd name="connsiteY26" fmla="*/ 75368 h 240476"/>
                    <a:gd name="connsiteX27" fmla="*/ 210233 w 220927"/>
                    <a:gd name="connsiteY27" fmla="*/ 75368 h 240476"/>
                    <a:gd name="connsiteX28" fmla="*/ 220927 w 220927"/>
                    <a:gd name="connsiteY28" fmla="*/ 64674 h 240476"/>
                    <a:gd name="connsiteX29" fmla="*/ 220927 w 220927"/>
                    <a:gd name="connsiteY29" fmla="*/ 33554 h 240476"/>
                    <a:gd name="connsiteX30" fmla="*/ 210233 w 220927"/>
                    <a:gd name="connsiteY30" fmla="*/ 22859 h 240476"/>
                    <a:gd name="connsiteX31" fmla="*/ 176878 w 220927"/>
                    <a:gd name="connsiteY31" fmla="*/ 22859 h 240476"/>
                    <a:gd name="connsiteX32" fmla="*/ 166212 w 220927"/>
                    <a:gd name="connsiteY32" fmla="*/ 33525 h 240476"/>
                    <a:gd name="connsiteX33" fmla="*/ 166212 w 220927"/>
                    <a:gd name="connsiteY33" fmla="*/ 33554 h 240476"/>
                    <a:gd name="connsiteX34" fmla="*/ 166212 w 220927"/>
                    <a:gd name="connsiteY34" fmla="*/ 60515 h 240476"/>
                    <a:gd name="connsiteX35" fmla="*/ 158460 w 220927"/>
                    <a:gd name="connsiteY35" fmla="*/ 68239 h 240476"/>
                    <a:gd name="connsiteX36" fmla="*/ 86147 w 220927"/>
                    <a:gd name="connsiteY36" fmla="*/ 68239 h 240476"/>
                    <a:gd name="connsiteX37" fmla="*/ 78395 w 220927"/>
                    <a:gd name="connsiteY37" fmla="*/ 60515 h 240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20927" h="240476">
                      <a:moveTo>
                        <a:pt x="78395" y="60515"/>
                      </a:moveTo>
                      <a:lnTo>
                        <a:pt x="78395" y="10694"/>
                      </a:lnTo>
                      <a:cubicBezTo>
                        <a:pt x="78395" y="4788"/>
                        <a:pt x="73607" y="0"/>
                        <a:pt x="67701" y="0"/>
                      </a:cubicBezTo>
                      <a:lnTo>
                        <a:pt x="10694" y="0"/>
                      </a:lnTo>
                      <a:cubicBezTo>
                        <a:pt x="4788" y="0"/>
                        <a:pt x="0" y="4788"/>
                        <a:pt x="0" y="10694"/>
                      </a:cubicBezTo>
                      <a:lnTo>
                        <a:pt x="0" y="10694"/>
                      </a:lnTo>
                      <a:lnTo>
                        <a:pt x="0" y="64674"/>
                      </a:lnTo>
                      <a:cubicBezTo>
                        <a:pt x="0" y="70580"/>
                        <a:pt x="4788" y="75368"/>
                        <a:pt x="10694" y="75368"/>
                      </a:cubicBezTo>
                      <a:lnTo>
                        <a:pt x="63514" y="75368"/>
                      </a:lnTo>
                      <a:cubicBezTo>
                        <a:pt x="67784" y="75368"/>
                        <a:pt x="71250" y="78822"/>
                        <a:pt x="71266" y="83092"/>
                      </a:cubicBezTo>
                      <a:lnTo>
                        <a:pt x="71266" y="155207"/>
                      </a:lnTo>
                      <a:cubicBezTo>
                        <a:pt x="71320" y="156949"/>
                        <a:pt x="70569" y="158619"/>
                        <a:pt x="69229" y="159733"/>
                      </a:cubicBezTo>
                      <a:cubicBezTo>
                        <a:pt x="67599" y="160950"/>
                        <a:pt x="65604" y="161578"/>
                        <a:pt x="63571" y="161516"/>
                      </a:cubicBezTo>
                      <a:lnTo>
                        <a:pt x="10694" y="161516"/>
                      </a:lnTo>
                      <a:cubicBezTo>
                        <a:pt x="4788" y="161516"/>
                        <a:pt x="0" y="166302"/>
                        <a:pt x="0" y="172210"/>
                      </a:cubicBezTo>
                      <a:lnTo>
                        <a:pt x="0" y="229783"/>
                      </a:lnTo>
                      <a:cubicBezTo>
                        <a:pt x="0" y="235690"/>
                        <a:pt x="4788" y="240477"/>
                        <a:pt x="10694" y="240477"/>
                      </a:cubicBezTo>
                      <a:lnTo>
                        <a:pt x="67701" y="240477"/>
                      </a:lnTo>
                      <a:cubicBezTo>
                        <a:pt x="73607" y="240477"/>
                        <a:pt x="78395" y="235690"/>
                        <a:pt x="78395" y="229783"/>
                      </a:cubicBezTo>
                      <a:lnTo>
                        <a:pt x="78395" y="176397"/>
                      </a:lnTo>
                      <a:cubicBezTo>
                        <a:pt x="78395" y="172130"/>
                        <a:pt x="81853" y="168673"/>
                        <a:pt x="86119" y="168673"/>
                      </a:cubicBezTo>
                      <a:cubicBezTo>
                        <a:pt x="86128" y="168673"/>
                        <a:pt x="86138" y="168673"/>
                        <a:pt x="86147" y="168673"/>
                      </a:cubicBezTo>
                      <a:lnTo>
                        <a:pt x="162732" y="168673"/>
                      </a:lnTo>
                      <a:cubicBezTo>
                        <a:pt x="168639" y="168673"/>
                        <a:pt x="173426" y="163886"/>
                        <a:pt x="173426" y="157979"/>
                      </a:cubicBezTo>
                      <a:lnTo>
                        <a:pt x="173426" y="83092"/>
                      </a:lnTo>
                      <a:cubicBezTo>
                        <a:pt x="173426" y="78826"/>
                        <a:pt x="176883" y="75368"/>
                        <a:pt x="181150" y="75368"/>
                      </a:cubicBezTo>
                      <a:cubicBezTo>
                        <a:pt x="181158" y="75368"/>
                        <a:pt x="181170" y="75368"/>
                        <a:pt x="181178" y="75368"/>
                      </a:cubicBezTo>
                      <a:lnTo>
                        <a:pt x="210233" y="75368"/>
                      </a:lnTo>
                      <a:cubicBezTo>
                        <a:pt x="216141" y="75368"/>
                        <a:pt x="220927" y="70580"/>
                        <a:pt x="220927" y="64674"/>
                      </a:cubicBezTo>
                      <a:lnTo>
                        <a:pt x="220927" y="33554"/>
                      </a:lnTo>
                      <a:cubicBezTo>
                        <a:pt x="220927" y="27647"/>
                        <a:pt x="216141" y="22859"/>
                        <a:pt x="210233" y="22859"/>
                      </a:cubicBezTo>
                      <a:lnTo>
                        <a:pt x="176878" y="22859"/>
                      </a:lnTo>
                      <a:cubicBezTo>
                        <a:pt x="170988" y="22859"/>
                        <a:pt x="166212" y="27635"/>
                        <a:pt x="166212" y="33525"/>
                      </a:cubicBezTo>
                      <a:cubicBezTo>
                        <a:pt x="166212" y="33535"/>
                        <a:pt x="166212" y="33544"/>
                        <a:pt x="166212" y="33554"/>
                      </a:cubicBezTo>
                      <a:lnTo>
                        <a:pt x="166212" y="60515"/>
                      </a:lnTo>
                      <a:cubicBezTo>
                        <a:pt x="166195" y="64786"/>
                        <a:pt x="162729" y="68239"/>
                        <a:pt x="158460" y="68239"/>
                      </a:cubicBezTo>
                      <a:lnTo>
                        <a:pt x="86147" y="68239"/>
                      </a:lnTo>
                      <a:cubicBezTo>
                        <a:pt x="81877" y="68239"/>
                        <a:pt x="78411" y="64786"/>
                        <a:pt x="78395" y="605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0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131">
                  <a:extLst>
                    <a:ext uri="{FF2B5EF4-FFF2-40B4-BE49-F238E27FC236}">
                      <a16:creationId xmlns:a16="http://schemas.microsoft.com/office/drawing/2014/main" id="{9852F408-0CBF-80A9-8DCC-04EA331D074B}"/>
                    </a:ext>
                  </a:extLst>
                </p:cNvPr>
                <p:cNvSpPr/>
                <p:nvPr/>
              </p:nvSpPr>
              <p:spPr>
                <a:xfrm>
                  <a:off x="6161299" y="3465782"/>
                  <a:ext cx="227717" cy="247521"/>
                </a:xfrm>
                <a:custGeom>
                  <a:avLst/>
                  <a:gdLst>
                    <a:gd name="connsiteX0" fmla="*/ 71153 w 227717"/>
                    <a:gd name="connsiteY0" fmla="*/ 247521 h 247521"/>
                    <a:gd name="connsiteX1" fmla="*/ 14146 w 227717"/>
                    <a:gd name="connsiteY1" fmla="*/ 247521 h 247521"/>
                    <a:gd name="connsiteX2" fmla="*/ 0 w 227717"/>
                    <a:gd name="connsiteY2" fmla="*/ 233376 h 247521"/>
                    <a:gd name="connsiteX3" fmla="*/ 0 w 227717"/>
                    <a:gd name="connsiteY3" fmla="*/ 175661 h 247521"/>
                    <a:gd name="connsiteX4" fmla="*/ 14146 w 227717"/>
                    <a:gd name="connsiteY4" fmla="*/ 161516 h 247521"/>
                    <a:gd name="connsiteX5" fmla="*/ 66966 w 227717"/>
                    <a:gd name="connsiteY5" fmla="*/ 161516 h 247521"/>
                    <a:gd name="connsiteX6" fmla="*/ 70446 w 227717"/>
                    <a:gd name="connsiteY6" fmla="*/ 160525 h 247521"/>
                    <a:gd name="connsiteX7" fmla="*/ 71153 w 227717"/>
                    <a:gd name="connsiteY7" fmla="*/ 158771 h 247521"/>
                    <a:gd name="connsiteX8" fmla="*/ 71153 w 227717"/>
                    <a:gd name="connsiteY8" fmla="*/ 86572 h 247521"/>
                    <a:gd name="connsiteX9" fmla="*/ 66994 w 227717"/>
                    <a:gd name="connsiteY9" fmla="*/ 82413 h 247521"/>
                    <a:gd name="connsiteX10" fmla="*/ 66966 w 227717"/>
                    <a:gd name="connsiteY10" fmla="*/ 82413 h 247521"/>
                    <a:gd name="connsiteX11" fmla="*/ 14146 w 227717"/>
                    <a:gd name="connsiteY11" fmla="*/ 82413 h 247521"/>
                    <a:gd name="connsiteX12" fmla="*/ 0 w 227717"/>
                    <a:gd name="connsiteY12" fmla="*/ 68267 h 247521"/>
                    <a:gd name="connsiteX13" fmla="*/ 0 w 227717"/>
                    <a:gd name="connsiteY13" fmla="*/ 14146 h 247521"/>
                    <a:gd name="connsiteX14" fmla="*/ 14146 w 227717"/>
                    <a:gd name="connsiteY14" fmla="*/ 0 h 247521"/>
                    <a:gd name="connsiteX15" fmla="*/ 71181 w 227717"/>
                    <a:gd name="connsiteY15" fmla="*/ 0 h 247521"/>
                    <a:gd name="connsiteX16" fmla="*/ 85327 w 227717"/>
                    <a:gd name="connsiteY16" fmla="*/ 14146 h 247521"/>
                    <a:gd name="connsiteX17" fmla="*/ 85327 w 227717"/>
                    <a:gd name="connsiteY17" fmla="*/ 63995 h 247521"/>
                    <a:gd name="connsiteX18" fmla="*/ 89486 w 227717"/>
                    <a:gd name="connsiteY18" fmla="*/ 68154 h 247521"/>
                    <a:gd name="connsiteX19" fmla="*/ 161940 w 227717"/>
                    <a:gd name="connsiteY19" fmla="*/ 68154 h 247521"/>
                    <a:gd name="connsiteX20" fmla="*/ 166184 w 227717"/>
                    <a:gd name="connsiteY20" fmla="*/ 64024 h 247521"/>
                    <a:gd name="connsiteX21" fmla="*/ 166184 w 227717"/>
                    <a:gd name="connsiteY21" fmla="*/ 63995 h 247521"/>
                    <a:gd name="connsiteX22" fmla="*/ 166184 w 227717"/>
                    <a:gd name="connsiteY22" fmla="*/ 36892 h 247521"/>
                    <a:gd name="connsiteX23" fmla="*/ 180329 w 227717"/>
                    <a:gd name="connsiteY23" fmla="*/ 22746 h 247521"/>
                    <a:gd name="connsiteX24" fmla="*/ 213572 w 227717"/>
                    <a:gd name="connsiteY24" fmla="*/ 22746 h 247521"/>
                    <a:gd name="connsiteX25" fmla="*/ 227717 w 227717"/>
                    <a:gd name="connsiteY25" fmla="*/ 36892 h 247521"/>
                    <a:gd name="connsiteX26" fmla="*/ 227717 w 227717"/>
                    <a:gd name="connsiteY26" fmla="*/ 68013 h 247521"/>
                    <a:gd name="connsiteX27" fmla="*/ 213572 w 227717"/>
                    <a:gd name="connsiteY27" fmla="*/ 82158 h 247521"/>
                    <a:gd name="connsiteX28" fmla="*/ 184601 w 227717"/>
                    <a:gd name="connsiteY28" fmla="*/ 82158 h 247521"/>
                    <a:gd name="connsiteX29" fmla="*/ 180414 w 227717"/>
                    <a:gd name="connsiteY29" fmla="*/ 86289 h 247521"/>
                    <a:gd name="connsiteX30" fmla="*/ 180414 w 227717"/>
                    <a:gd name="connsiteY30" fmla="*/ 86317 h 247521"/>
                    <a:gd name="connsiteX31" fmla="*/ 180414 w 227717"/>
                    <a:gd name="connsiteY31" fmla="*/ 161459 h 247521"/>
                    <a:gd name="connsiteX32" fmla="*/ 166268 w 227717"/>
                    <a:gd name="connsiteY32" fmla="*/ 175605 h 247521"/>
                    <a:gd name="connsiteX33" fmla="*/ 89571 w 227717"/>
                    <a:gd name="connsiteY33" fmla="*/ 175605 h 247521"/>
                    <a:gd name="connsiteX34" fmla="*/ 85412 w 227717"/>
                    <a:gd name="connsiteY34" fmla="*/ 179763 h 247521"/>
                    <a:gd name="connsiteX35" fmla="*/ 85412 w 227717"/>
                    <a:gd name="connsiteY35" fmla="*/ 233149 h 247521"/>
                    <a:gd name="connsiteX36" fmla="*/ 71495 w 227717"/>
                    <a:gd name="connsiteY36" fmla="*/ 247521 h 247521"/>
                    <a:gd name="connsiteX37" fmla="*/ 71153 w 227717"/>
                    <a:gd name="connsiteY37" fmla="*/ 247521 h 247521"/>
                    <a:gd name="connsiteX38" fmla="*/ 14146 w 227717"/>
                    <a:gd name="connsiteY38" fmla="*/ 168560 h 247521"/>
                    <a:gd name="connsiteX39" fmla="*/ 7016 w 227717"/>
                    <a:gd name="connsiteY39" fmla="*/ 175661 h 247521"/>
                    <a:gd name="connsiteX40" fmla="*/ 7016 w 227717"/>
                    <a:gd name="connsiteY40" fmla="*/ 233263 h 247521"/>
                    <a:gd name="connsiteX41" fmla="*/ 14146 w 227717"/>
                    <a:gd name="connsiteY41" fmla="*/ 240392 h 247521"/>
                    <a:gd name="connsiteX42" fmla="*/ 71153 w 227717"/>
                    <a:gd name="connsiteY42" fmla="*/ 240392 h 247521"/>
                    <a:gd name="connsiteX43" fmla="*/ 78282 w 227717"/>
                    <a:gd name="connsiteY43" fmla="*/ 233263 h 247521"/>
                    <a:gd name="connsiteX44" fmla="*/ 78282 w 227717"/>
                    <a:gd name="connsiteY44" fmla="*/ 179877 h 247521"/>
                    <a:gd name="connsiteX45" fmla="*/ 89599 w 227717"/>
                    <a:gd name="connsiteY45" fmla="*/ 168560 h 247521"/>
                    <a:gd name="connsiteX46" fmla="*/ 166184 w 227717"/>
                    <a:gd name="connsiteY46" fmla="*/ 168560 h 247521"/>
                    <a:gd name="connsiteX47" fmla="*/ 173285 w 227717"/>
                    <a:gd name="connsiteY47" fmla="*/ 161459 h 247521"/>
                    <a:gd name="connsiteX48" fmla="*/ 173285 w 227717"/>
                    <a:gd name="connsiteY48" fmla="*/ 161431 h 247521"/>
                    <a:gd name="connsiteX49" fmla="*/ 173285 w 227717"/>
                    <a:gd name="connsiteY49" fmla="*/ 86572 h 247521"/>
                    <a:gd name="connsiteX50" fmla="*/ 184601 w 227717"/>
                    <a:gd name="connsiteY50" fmla="*/ 75255 h 247521"/>
                    <a:gd name="connsiteX51" fmla="*/ 213657 w 227717"/>
                    <a:gd name="connsiteY51" fmla="*/ 75255 h 247521"/>
                    <a:gd name="connsiteX52" fmla="*/ 220758 w 227717"/>
                    <a:gd name="connsiteY52" fmla="*/ 68126 h 247521"/>
                    <a:gd name="connsiteX53" fmla="*/ 220758 w 227717"/>
                    <a:gd name="connsiteY53" fmla="*/ 37005 h 247521"/>
                    <a:gd name="connsiteX54" fmla="*/ 213657 w 227717"/>
                    <a:gd name="connsiteY54" fmla="*/ 29904 h 247521"/>
                    <a:gd name="connsiteX55" fmla="*/ 180329 w 227717"/>
                    <a:gd name="connsiteY55" fmla="*/ 29904 h 247521"/>
                    <a:gd name="connsiteX56" fmla="*/ 173200 w 227717"/>
                    <a:gd name="connsiteY56" fmla="*/ 37005 h 247521"/>
                    <a:gd name="connsiteX57" fmla="*/ 173200 w 227717"/>
                    <a:gd name="connsiteY57" fmla="*/ 63995 h 247521"/>
                    <a:gd name="connsiteX58" fmla="*/ 161883 w 227717"/>
                    <a:gd name="connsiteY58" fmla="*/ 75312 h 247521"/>
                    <a:gd name="connsiteX59" fmla="*/ 89571 w 227717"/>
                    <a:gd name="connsiteY59" fmla="*/ 75312 h 247521"/>
                    <a:gd name="connsiteX60" fmla="*/ 78254 w 227717"/>
                    <a:gd name="connsiteY60" fmla="*/ 63995 h 247521"/>
                    <a:gd name="connsiteX61" fmla="*/ 78254 w 227717"/>
                    <a:gd name="connsiteY61" fmla="*/ 14174 h 247521"/>
                    <a:gd name="connsiteX62" fmla="*/ 76189 w 227717"/>
                    <a:gd name="connsiteY62" fmla="*/ 9138 h 247521"/>
                    <a:gd name="connsiteX63" fmla="*/ 71153 w 227717"/>
                    <a:gd name="connsiteY63" fmla="*/ 7045 h 247521"/>
                    <a:gd name="connsiteX64" fmla="*/ 14146 w 227717"/>
                    <a:gd name="connsiteY64" fmla="*/ 7045 h 247521"/>
                    <a:gd name="connsiteX65" fmla="*/ 7016 w 227717"/>
                    <a:gd name="connsiteY65" fmla="*/ 14146 h 247521"/>
                    <a:gd name="connsiteX66" fmla="*/ 7016 w 227717"/>
                    <a:gd name="connsiteY66" fmla="*/ 68154 h 247521"/>
                    <a:gd name="connsiteX67" fmla="*/ 14146 w 227717"/>
                    <a:gd name="connsiteY67" fmla="*/ 75283 h 247521"/>
                    <a:gd name="connsiteX68" fmla="*/ 66966 w 227717"/>
                    <a:gd name="connsiteY68" fmla="*/ 75283 h 247521"/>
                    <a:gd name="connsiteX69" fmla="*/ 78282 w 227717"/>
                    <a:gd name="connsiteY69" fmla="*/ 86600 h 247521"/>
                    <a:gd name="connsiteX70" fmla="*/ 78282 w 227717"/>
                    <a:gd name="connsiteY70" fmla="*/ 158686 h 247521"/>
                    <a:gd name="connsiteX71" fmla="*/ 75000 w 227717"/>
                    <a:gd name="connsiteY71" fmla="*/ 165929 h 247521"/>
                    <a:gd name="connsiteX72" fmla="*/ 66966 w 227717"/>
                    <a:gd name="connsiteY72" fmla="*/ 168560 h 247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227717" h="247521">
                      <a:moveTo>
                        <a:pt x="71153" y="247521"/>
                      </a:moveTo>
                      <a:lnTo>
                        <a:pt x="14146" y="247521"/>
                      </a:lnTo>
                      <a:cubicBezTo>
                        <a:pt x="6333" y="247521"/>
                        <a:pt x="0" y="241187"/>
                        <a:pt x="0" y="233376"/>
                      </a:cubicBezTo>
                      <a:lnTo>
                        <a:pt x="0" y="175661"/>
                      </a:lnTo>
                      <a:cubicBezTo>
                        <a:pt x="0" y="167850"/>
                        <a:pt x="6333" y="161516"/>
                        <a:pt x="14146" y="161516"/>
                      </a:cubicBezTo>
                      <a:lnTo>
                        <a:pt x="66966" y="161516"/>
                      </a:lnTo>
                      <a:cubicBezTo>
                        <a:pt x="68206" y="161605"/>
                        <a:pt x="69438" y="161254"/>
                        <a:pt x="70446" y="160525"/>
                      </a:cubicBezTo>
                      <a:cubicBezTo>
                        <a:pt x="70955" y="160092"/>
                        <a:pt x="71219" y="159437"/>
                        <a:pt x="71153" y="158771"/>
                      </a:cubicBezTo>
                      <a:lnTo>
                        <a:pt x="71153" y="86572"/>
                      </a:lnTo>
                      <a:cubicBezTo>
                        <a:pt x="71153" y="84275"/>
                        <a:pt x="69291" y="82413"/>
                        <a:pt x="66994" y="82413"/>
                      </a:cubicBezTo>
                      <a:cubicBezTo>
                        <a:pt x="66985" y="82413"/>
                        <a:pt x="66975" y="82413"/>
                        <a:pt x="66966" y="82413"/>
                      </a:cubicBezTo>
                      <a:lnTo>
                        <a:pt x="14146" y="82413"/>
                      </a:lnTo>
                      <a:cubicBezTo>
                        <a:pt x="6333" y="82413"/>
                        <a:pt x="0" y="76080"/>
                        <a:pt x="0" y="68267"/>
                      </a:cubicBezTo>
                      <a:lnTo>
                        <a:pt x="0" y="14146"/>
                      </a:lnTo>
                      <a:cubicBezTo>
                        <a:pt x="0" y="6333"/>
                        <a:pt x="6333" y="0"/>
                        <a:pt x="14146" y="0"/>
                      </a:cubicBezTo>
                      <a:lnTo>
                        <a:pt x="71181" y="0"/>
                      </a:lnTo>
                      <a:cubicBezTo>
                        <a:pt x="78994" y="0"/>
                        <a:pt x="85327" y="6333"/>
                        <a:pt x="85327" y="14146"/>
                      </a:cubicBezTo>
                      <a:lnTo>
                        <a:pt x="85327" y="63995"/>
                      </a:lnTo>
                      <a:cubicBezTo>
                        <a:pt x="85327" y="66292"/>
                        <a:pt x="87189" y="68154"/>
                        <a:pt x="89486" y="68154"/>
                      </a:cubicBezTo>
                      <a:lnTo>
                        <a:pt x="161940" y="68154"/>
                      </a:lnTo>
                      <a:cubicBezTo>
                        <a:pt x="164251" y="68185"/>
                        <a:pt x="166153" y="66336"/>
                        <a:pt x="166184" y="64024"/>
                      </a:cubicBezTo>
                      <a:cubicBezTo>
                        <a:pt x="166184" y="64014"/>
                        <a:pt x="166184" y="64005"/>
                        <a:pt x="166184" y="63995"/>
                      </a:cubicBezTo>
                      <a:lnTo>
                        <a:pt x="166184" y="36892"/>
                      </a:lnTo>
                      <a:cubicBezTo>
                        <a:pt x="166184" y="29080"/>
                        <a:pt x="172518" y="22746"/>
                        <a:pt x="180329" y="22746"/>
                      </a:cubicBezTo>
                      <a:lnTo>
                        <a:pt x="213572" y="22746"/>
                      </a:lnTo>
                      <a:cubicBezTo>
                        <a:pt x="221383" y="22746"/>
                        <a:pt x="227717" y="29080"/>
                        <a:pt x="227717" y="36892"/>
                      </a:cubicBezTo>
                      <a:lnTo>
                        <a:pt x="227717" y="68013"/>
                      </a:lnTo>
                      <a:cubicBezTo>
                        <a:pt x="227641" y="75793"/>
                        <a:pt x="221352" y="82082"/>
                        <a:pt x="213572" y="82158"/>
                      </a:cubicBezTo>
                      <a:lnTo>
                        <a:pt x="184601" y="82158"/>
                      </a:lnTo>
                      <a:cubicBezTo>
                        <a:pt x="182304" y="82143"/>
                        <a:pt x="180431" y="83992"/>
                        <a:pt x="180414" y="86289"/>
                      </a:cubicBezTo>
                      <a:cubicBezTo>
                        <a:pt x="180414" y="86298"/>
                        <a:pt x="180414" y="86308"/>
                        <a:pt x="180414" y="86317"/>
                      </a:cubicBezTo>
                      <a:lnTo>
                        <a:pt x="180414" y="161459"/>
                      </a:lnTo>
                      <a:cubicBezTo>
                        <a:pt x="180414" y="169270"/>
                        <a:pt x="174080" y="175605"/>
                        <a:pt x="166268" y="175605"/>
                      </a:cubicBezTo>
                      <a:lnTo>
                        <a:pt x="89571" y="175605"/>
                      </a:lnTo>
                      <a:cubicBezTo>
                        <a:pt x="87274" y="175605"/>
                        <a:pt x="85412" y="177466"/>
                        <a:pt x="85412" y="179763"/>
                      </a:cubicBezTo>
                      <a:lnTo>
                        <a:pt x="85412" y="233149"/>
                      </a:lnTo>
                      <a:cubicBezTo>
                        <a:pt x="85537" y="240961"/>
                        <a:pt x="79306" y="247394"/>
                        <a:pt x="71495" y="247521"/>
                      </a:cubicBezTo>
                      <a:cubicBezTo>
                        <a:pt x="71381" y="247521"/>
                        <a:pt x="71267" y="247521"/>
                        <a:pt x="71153" y="247521"/>
                      </a:cubicBezTo>
                      <a:close/>
                      <a:moveTo>
                        <a:pt x="14146" y="168560"/>
                      </a:moveTo>
                      <a:cubicBezTo>
                        <a:pt x="10219" y="168560"/>
                        <a:pt x="7032" y="171734"/>
                        <a:pt x="7016" y="175661"/>
                      </a:cubicBezTo>
                      <a:lnTo>
                        <a:pt x="7016" y="233263"/>
                      </a:lnTo>
                      <a:cubicBezTo>
                        <a:pt x="7016" y="237201"/>
                        <a:pt x="10208" y="240392"/>
                        <a:pt x="14146" y="240392"/>
                      </a:cubicBezTo>
                      <a:lnTo>
                        <a:pt x="71153" y="240392"/>
                      </a:lnTo>
                      <a:cubicBezTo>
                        <a:pt x="75090" y="240392"/>
                        <a:pt x="78282" y="237201"/>
                        <a:pt x="78282" y="233263"/>
                      </a:cubicBezTo>
                      <a:lnTo>
                        <a:pt x="78282" y="179877"/>
                      </a:lnTo>
                      <a:cubicBezTo>
                        <a:pt x="78282" y="173627"/>
                        <a:pt x="83349" y="168560"/>
                        <a:pt x="89599" y="168560"/>
                      </a:cubicBezTo>
                      <a:lnTo>
                        <a:pt x="166184" y="168560"/>
                      </a:lnTo>
                      <a:cubicBezTo>
                        <a:pt x="170105" y="168560"/>
                        <a:pt x="173285" y="165380"/>
                        <a:pt x="173285" y="161459"/>
                      </a:cubicBezTo>
                      <a:cubicBezTo>
                        <a:pt x="173285" y="161450"/>
                        <a:pt x="173285" y="161440"/>
                        <a:pt x="173285" y="161431"/>
                      </a:cubicBezTo>
                      <a:lnTo>
                        <a:pt x="173285" y="86572"/>
                      </a:lnTo>
                      <a:cubicBezTo>
                        <a:pt x="173285" y="80322"/>
                        <a:pt x="178352" y="75255"/>
                        <a:pt x="184601" y="75255"/>
                      </a:cubicBezTo>
                      <a:lnTo>
                        <a:pt x="213657" y="75255"/>
                      </a:lnTo>
                      <a:cubicBezTo>
                        <a:pt x="217583" y="75240"/>
                        <a:pt x="220758" y="72052"/>
                        <a:pt x="220758" y="68126"/>
                      </a:cubicBezTo>
                      <a:lnTo>
                        <a:pt x="220758" y="37005"/>
                      </a:lnTo>
                      <a:cubicBezTo>
                        <a:pt x="220744" y="33090"/>
                        <a:pt x="217572" y="29920"/>
                        <a:pt x="213657" y="29904"/>
                      </a:cubicBezTo>
                      <a:lnTo>
                        <a:pt x="180329" y="29904"/>
                      </a:lnTo>
                      <a:cubicBezTo>
                        <a:pt x="176402" y="29904"/>
                        <a:pt x="173217" y="33079"/>
                        <a:pt x="173200" y="37005"/>
                      </a:cubicBezTo>
                      <a:lnTo>
                        <a:pt x="173200" y="63995"/>
                      </a:lnTo>
                      <a:cubicBezTo>
                        <a:pt x="173200" y="70245"/>
                        <a:pt x="168133" y="75312"/>
                        <a:pt x="161883" y="75312"/>
                      </a:cubicBezTo>
                      <a:lnTo>
                        <a:pt x="89571" y="75312"/>
                      </a:lnTo>
                      <a:cubicBezTo>
                        <a:pt x="83321" y="75312"/>
                        <a:pt x="78254" y="70245"/>
                        <a:pt x="78254" y="63995"/>
                      </a:cubicBezTo>
                      <a:lnTo>
                        <a:pt x="78254" y="14174"/>
                      </a:lnTo>
                      <a:cubicBezTo>
                        <a:pt x="78294" y="12282"/>
                        <a:pt x="77546" y="10457"/>
                        <a:pt x="76189" y="9138"/>
                      </a:cubicBezTo>
                      <a:cubicBezTo>
                        <a:pt x="74865" y="7784"/>
                        <a:pt x="73046" y="7028"/>
                        <a:pt x="71153" y="7045"/>
                      </a:cubicBezTo>
                      <a:lnTo>
                        <a:pt x="14146" y="7045"/>
                      </a:lnTo>
                      <a:cubicBezTo>
                        <a:pt x="10219" y="7045"/>
                        <a:pt x="7032" y="10219"/>
                        <a:pt x="7016" y="14146"/>
                      </a:cubicBezTo>
                      <a:lnTo>
                        <a:pt x="7016" y="68154"/>
                      </a:lnTo>
                      <a:cubicBezTo>
                        <a:pt x="7016" y="72092"/>
                        <a:pt x="10208" y="75283"/>
                        <a:pt x="14146" y="75283"/>
                      </a:cubicBezTo>
                      <a:lnTo>
                        <a:pt x="66966" y="75283"/>
                      </a:lnTo>
                      <a:cubicBezTo>
                        <a:pt x="73216" y="75283"/>
                        <a:pt x="78282" y="80350"/>
                        <a:pt x="78282" y="86600"/>
                      </a:cubicBezTo>
                      <a:lnTo>
                        <a:pt x="78282" y="158686"/>
                      </a:lnTo>
                      <a:cubicBezTo>
                        <a:pt x="78343" y="161473"/>
                        <a:pt x="77136" y="164138"/>
                        <a:pt x="75000" y="165929"/>
                      </a:cubicBezTo>
                      <a:cubicBezTo>
                        <a:pt x="72702" y="167700"/>
                        <a:pt x="69866" y="168628"/>
                        <a:pt x="66966" y="168560"/>
                      </a:cubicBezTo>
                      <a:close/>
                    </a:path>
                  </a:pathLst>
                </a:custGeom>
                <a:solidFill>
                  <a:srgbClr val="5191FB"/>
                </a:solidFill>
                <a:ln w="280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74" name="Rounded Rectangle 73" descr="AI - Azure artificial intelligence services include Azure Cognitive Services, Azure Applied AI, and Azure Machine Learning">
            <a:extLst>
              <a:ext uri="{FF2B5EF4-FFF2-40B4-BE49-F238E27FC236}">
                <a16:creationId xmlns:a16="http://schemas.microsoft.com/office/drawing/2014/main" id="{A6426597-D840-1F48-CF3B-9F6AA5B53F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619760" y="1593305"/>
            <a:ext cx="5276045" cy="1522539"/>
          </a:xfrm>
          <a:prstGeom prst="roundRect">
            <a:avLst>
              <a:gd name="adj" fmla="val 11062"/>
            </a:avLst>
          </a:prstGeom>
          <a:noFill/>
          <a:ln w="12700" cap="rnd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13" name="Content Placeholder 8">
            <a:extLst>
              <a:ext uri="{FF2B5EF4-FFF2-40B4-BE49-F238E27FC236}">
                <a16:creationId xmlns:a16="http://schemas.microsoft.com/office/drawing/2014/main" id="{FA0346B2-299A-578B-A8E0-BD1B4BCE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091090" y="2586288"/>
            <a:ext cx="1463040" cy="25185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R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 typeface="Wingdings" panose="05000000000000000000" pitchFamily="2" charset="2"/>
              <a:buNone/>
              <a:tabLst/>
              <a:defRPr sz="1200" spc="-4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Segoe UI Semibold"/>
              </a:defRPr>
            </a:lvl1pPr>
            <a:lvl2pPr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spc="0" baseline="0"/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/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8958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Services</a:t>
            </a:r>
          </a:p>
        </p:txBody>
      </p:sp>
      <p:sp>
        <p:nvSpPr>
          <p:cNvPr id="111" name="Content Placeholder 6">
            <a:extLst>
              <a:ext uri="{FF2B5EF4-FFF2-40B4-BE49-F238E27FC236}">
                <a16:creationId xmlns:a16="http://schemas.microsoft.com/office/drawing/2014/main" id="{6525953D-4473-3EDB-4CD5-835AD0373E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562087" y="2586288"/>
            <a:ext cx="1463040" cy="252179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58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OpenAI</a:t>
            </a:r>
            <a:endParaRPr kumimoji="0" lang="en-US" sz="1200" b="0" i="0" u="none" strike="noStrike" kern="1200" cap="none" spc="-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2" name="Content Placeholder 7">
            <a:extLst>
              <a:ext uri="{FF2B5EF4-FFF2-40B4-BE49-F238E27FC236}">
                <a16:creationId xmlns:a16="http://schemas.microsoft.com/office/drawing/2014/main" id="{2F8D71B8-E54B-121D-408C-46D7A9AE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012702" y="2586288"/>
            <a:ext cx="1463040" cy="25185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R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 typeface="Wingdings" panose="05000000000000000000" pitchFamily="2" charset="2"/>
              <a:buNone/>
              <a:tabLst/>
              <a:defRPr sz="1200" spc="-4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Segoe UI Semibold"/>
              </a:defRPr>
            </a:lvl1pPr>
            <a:lvl2pPr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spc="0" baseline="0"/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/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8958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achine Learning</a:t>
            </a:r>
          </a:p>
        </p:txBody>
      </p:sp>
      <p:grpSp>
        <p:nvGrpSpPr>
          <p:cNvPr id="34" name="Group 33" descr="Development tools - Microsoft software development services include GitHub, Visual Studio Code, Azure API Management, and Azure Container Registry">
            <a:extLst>
              <a:ext uri="{FF2B5EF4-FFF2-40B4-BE49-F238E27FC236}">
                <a16:creationId xmlns:a16="http://schemas.microsoft.com/office/drawing/2014/main" id="{FC2FCC15-A43A-FDBE-984D-5CDD2837BECD}"/>
              </a:ext>
            </a:extLst>
          </p:cNvPr>
          <p:cNvGrpSpPr/>
          <p:nvPr/>
        </p:nvGrpSpPr>
        <p:grpSpPr>
          <a:xfrm>
            <a:off x="294200" y="3241650"/>
            <a:ext cx="2799514" cy="2653422"/>
            <a:chOff x="259961" y="3241650"/>
            <a:chExt cx="2799514" cy="2653422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46AA53BC-22AA-7D1B-4C1E-5C1F16C09780}"/>
                </a:ext>
              </a:extLst>
            </p:cNvPr>
            <p:cNvSpPr/>
            <p:nvPr/>
          </p:nvSpPr>
          <p:spPr bwMode="auto">
            <a:xfrm>
              <a:off x="259961" y="3241650"/>
              <a:ext cx="2799514" cy="2653422"/>
            </a:xfrm>
            <a:prstGeom prst="roundRect">
              <a:avLst>
                <a:gd name="adj" fmla="val 5929"/>
              </a:avLst>
            </a:prstGeom>
            <a:noFill/>
            <a:ln w="12700" cap="rnd">
              <a:solidFill>
                <a:srgbClr val="D9D9D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3891BF-39CD-C2FA-A181-831D0EFCDA0B}"/>
                </a:ext>
              </a:extLst>
            </p:cNvPr>
            <p:cNvSpPr txBox="1"/>
            <p:nvPr/>
          </p:nvSpPr>
          <p:spPr>
            <a:xfrm>
              <a:off x="542618" y="3404624"/>
              <a:ext cx="2234201" cy="1938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 marL="457183" defTabSz="914367">
                <a:defRPr sz="1765">
                  <a:solidFill>
                    <a:schemeClr val="lt1"/>
                  </a:solidFill>
                </a:defRPr>
              </a:lvl2pPr>
              <a:lvl3pPr marL="914367" defTabSz="914367">
                <a:defRPr sz="1765">
                  <a:solidFill>
                    <a:schemeClr val="lt1"/>
                  </a:solidFill>
                </a:defRPr>
              </a:lvl3pPr>
              <a:lvl4pPr marL="1371550" defTabSz="914367">
                <a:defRPr sz="1765">
                  <a:solidFill>
                    <a:schemeClr val="lt1"/>
                  </a:solidFill>
                </a:defRPr>
              </a:lvl4pPr>
              <a:lvl5pPr marL="1828734" defTabSz="914367">
                <a:defRPr sz="1765">
                  <a:solidFill>
                    <a:schemeClr val="lt1"/>
                  </a:solidFill>
                </a:defRPr>
              </a:lvl5pPr>
              <a:lvl6pPr marL="2285918" defTabSz="914367">
                <a:defRPr sz="1765">
                  <a:solidFill>
                    <a:schemeClr val="lt1"/>
                  </a:solidFill>
                </a:defRPr>
              </a:lvl6pPr>
              <a:lvl7pPr marL="2743101" defTabSz="914367">
                <a:defRPr sz="1765">
                  <a:solidFill>
                    <a:schemeClr val="lt1"/>
                  </a:solidFill>
                </a:defRPr>
              </a:lvl7pPr>
              <a:lvl8pPr marL="3200284" defTabSz="914367">
                <a:defRPr sz="1765">
                  <a:solidFill>
                    <a:schemeClr val="lt1"/>
                  </a:solidFill>
                </a:defRPr>
              </a:lvl8pPr>
              <a:lvl9pPr marL="3657469" defTabSz="914367">
                <a:defRPr sz="1765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evelopment tools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F7AB50D6-808D-588E-A235-A4AF5FB24FEB}"/>
                </a:ext>
              </a:extLst>
            </p:cNvPr>
            <p:cNvGrpSpPr/>
            <p:nvPr/>
          </p:nvGrpSpPr>
          <p:grpSpPr>
            <a:xfrm>
              <a:off x="552892" y="3867651"/>
              <a:ext cx="947065" cy="331934"/>
              <a:chOff x="552892" y="3814248"/>
              <a:chExt cx="947065" cy="331934"/>
            </a:xfrm>
          </p:grpSpPr>
          <p:pic>
            <p:nvPicPr>
              <p:cNvPr id="68" name="Graphic 67" descr="GitHub logo">
                <a:extLst>
                  <a:ext uri="{FF2B5EF4-FFF2-40B4-BE49-F238E27FC236}">
                    <a16:creationId xmlns:a16="http://schemas.microsoft.com/office/drawing/2014/main" id="{36D882BB-26B9-D715-37B9-E145DD6C4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52892" y="3814248"/>
                <a:ext cx="340374" cy="331934"/>
              </a:xfrm>
              <a:prstGeom prst="rect">
                <a:avLst/>
              </a:prstGeom>
            </p:spPr>
          </p:pic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110654B2-2FD1-D710-4FBE-49D7B65A0EA8}"/>
                  </a:ext>
                </a:extLst>
              </p:cNvPr>
              <p:cNvSpPr/>
              <p:nvPr/>
            </p:nvSpPr>
            <p:spPr bwMode="auto">
              <a:xfrm>
                <a:off x="1030598" y="3897116"/>
                <a:ext cx="469359" cy="166199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GitHub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0CC0038-B51A-9DFC-02D9-9857CF7738F2}"/>
                </a:ext>
              </a:extLst>
            </p:cNvPr>
            <p:cNvGrpSpPr/>
            <p:nvPr/>
          </p:nvGrpSpPr>
          <p:grpSpPr>
            <a:xfrm>
              <a:off x="554938" y="4687549"/>
              <a:ext cx="2027623" cy="338328"/>
              <a:chOff x="527724" y="2693287"/>
              <a:chExt cx="2027623" cy="338328"/>
            </a:xfrm>
          </p:grpSpPr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4248529D-24BE-D5DD-D7C9-133A8D4845F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27724" y="2693287"/>
                <a:ext cx="338328" cy="338328"/>
              </a:xfrm>
              <a:prstGeom prst="rect">
                <a:avLst/>
              </a:prstGeom>
            </p:spPr>
          </p:pic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CE1EE2E-0351-7313-00EA-270DB17661AE}"/>
                  </a:ext>
                </a:extLst>
              </p:cNvPr>
              <p:cNvSpPr/>
              <p:nvPr/>
            </p:nvSpPr>
            <p:spPr bwMode="auto">
              <a:xfrm>
                <a:off x="1003384" y="2793933"/>
                <a:ext cx="1551963" cy="166199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API Management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3DFF9B9-8B15-719E-4C83-A496A378D45C}"/>
                </a:ext>
              </a:extLst>
            </p:cNvPr>
            <p:cNvGrpSpPr/>
            <p:nvPr/>
          </p:nvGrpSpPr>
          <p:grpSpPr>
            <a:xfrm>
              <a:off x="542618" y="5109935"/>
              <a:ext cx="2092578" cy="338328"/>
              <a:chOff x="527724" y="2693287"/>
              <a:chExt cx="2092578" cy="338328"/>
            </a:xfrm>
          </p:grpSpPr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0EA231A4-B0C2-1B02-308A-2DB10294954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rcRect/>
              <a:stretch/>
            </p:blipFill>
            <p:spPr>
              <a:xfrm>
                <a:off x="527724" y="2693287"/>
                <a:ext cx="338328" cy="338328"/>
              </a:xfrm>
              <a:prstGeom prst="rect">
                <a:avLst/>
              </a:prstGeom>
            </p:spPr>
          </p:pic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62801617-FA57-2B52-8221-CDFE6CD4F0BA}"/>
                  </a:ext>
                </a:extLst>
              </p:cNvPr>
              <p:cNvSpPr/>
              <p:nvPr/>
            </p:nvSpPr>
            <p:spPr bwMode="auto">
              <a:xfrm>
                <a:off x="1003384" y="2793933"/>
                <a:ext cx="1616918" cy="166199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Container Registry</a:t>
                </a: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EA9AADE-3793-84CC-43FA-62B261C25868}"/>
                </a:ext>
              </a:extLst>
            </p:cNvPr>
            <p:cNvSpPr/>
            <p:nvPr/>
          </p:nvSpPr>
          <p:spPr bwMode="auto">
            <a:xfrm>
              <a:off x="1003384" y="4383227"/>
              <a:ext cx="1217706" cy="1661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Visual Studio Code</a:t>
              </a:r>
            </a:p>
          </p:txBody>
        </p:sp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C994FE71-CC06-1EF6-103A-19A57A4505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280" y="4336743"/>
              <a:ext cx="259170" cy="259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0" name="Rounded Rectangle 69" descr="Containers and serverless - Microsoft managed cloud services for app development include Azure Kubernetes Service, Azure Container Apps, and Azure Functions">
            <a:extLst>
              <a:ext uri="{FF2B5EF4-FFF2-40B4-BE49-F238E27FC236}">
                <a16:creationId xmlns:a16="http://schemas.microsoft.com/office/drawing/2014/main" id="{B4A3A8E8-67FB-80F6-DC48-6AC64FC330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178533" y="3237901"/>
            <a:ext cx="3363938" cy="1537201"/>
          </a:xfrm>
          <a:prstGeom prst="roundRect">
            <a:avLst>
              <a:gd name="adj" fmla="val 7943"/>
            </a:avLst>
          </a:prstGeom>
          <a:noFill/>
          <a:ln w="12700" cap="rnd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C2E7982-0077-BC89-ED78-48D270D31A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751515" y="3351040"/>
            <a:ext cx="2234201" cy="1938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defTabSz="932472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0" i="0" u="none" strike="noStrike" cap="none" spc="-40" normalizeH="0" baseline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defRPr>
            </a:lvl1pPr>
            <a:lvl2pPr marL="457183" defTabSz="914367">
              <a:defRPr sz="1765">
                <a:solidFill>
                  <a:schemeClr val="lt1"/>
                </a:solidFill>
              </a:defRPr>
            </a:lvl2pPr>
            <a:lvl3pPr marL="914367" defTabSz="914367">
              <a:defRPr sz="1765">
                <a:solidFill>
                  <a:schemeClr val="lt1"/>
                </a:solidFill>
              </a:defRPr>
            </a:lvl3pPr>
            <a:lvl4pPr marL="1371550" defTabSz="914367">
              <a:defRPr sz="1765">
                <a:solidFill>
                  <a:schemeClr val="lt1"/>
                </a:solidFill>
              </a:defRPr>
            </a:lvl4pPr>
            <a:lvl5pPr marL="1828734" defTabSz="914367">
              <a:defRPr sz="1765">
                <a:solidFill>
                  <a:schemeClr val="lt1"/>
                </a:solidFill>
              </a:defRPr>
            </a:lvl5pPr>
            <a:lvl6pPr marL="2285918" defTabSz="914367">
              <a:defRPr sz="1765">
                <a:solidFill>
                  <a:schemeClr val="lt1"/>
                </a:solidFill>
              </a:defRPr>
            </a:lvl6pPr>
            <a:lvl7pPr marL="2743101" defTabSz="914367">
              <a:defRPr sz="1765">
                <a:solidFill>
                  <a:schemeClr val="lt1"/>
                </a:solidFill>
              </a:defRPr>
            </a:lvl7pPr>
            <a:lvl8pPr marL="3200284" defTabSz="914367">
              <a:defRPr sz="1765">
                <a:solidFill>
                  <a:schemeClr val="lt1"/>
                </a:solidFill>
              </a:defRPr>
            </a:lvl8pPr>
            <a:lvl9pPr marL="3657469" defTabSz="914367">
              <a:defRPr sz="1765"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latfor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76E2DF5-F8DA-0C11-F785-4E62D0F5E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294998" y="4133695"/>
            <a:ext cx="1327319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 Kubernetes Service</a:t>
            </a:r>
          </a:p>
        </p:txBody>
      </p:sp>
      <p:pic>
        <p:nvPicPr>
          <p:cNvPr id="123" name="Graphic 122">
            <a:extLst>
              <a:ext uri="{FF2B5EF4-FFF2-40B4-BE49-F238E27FC236}">
                <a16:creationId xmlns:a16="http://schemas.microsoft.com/office/drawing/2014/main" id="{3E23A64F-C7AE-BEBA-129B-0D394BC65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3689396" y="3580150"/>
            <a:ext cx="508338" cy="496263"/>
          </a:xfrm>
          <a:prstGeom prst="rect">
            <a:avLst/>
          </a:prstGeom>
          <a:effectLst/>
        </p:spPr>
      </p:pic>
      <p:pic>
        <p:nvPicPr>
          <p:cNvPr id="124" name="Picture 9">
            <a:extLst>
              <a:ext uri="{FF2B5EF4-FFF2-40B4-BE49-F238E27FC236}">
                <a16:creationId xmlns:a16="http://schemas.microsoft.com/office/drawing/2014/main" id="{9111021C-F88F-9788-B965-5793B38D7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30737" t="1160" r="29165" b="-1160"/>
          <a:stretch/>
        </p:blipFill>
        <p:spPr>
          <a:xfrm>
            <a:off x="5411191" y="3487767"/>
            <a:ext cx="574525" cy="699782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CD4FED94-28D4-1E4D-8171-EF14C460D70F}"/>
              </a:ext>
            </a:extLst>
          </p:cNvPr>
          <p:cNvSpPr txBox="1"/>
          <p:nvPr/>
        </p:nvSpPr>
        <p:spPr>
          <a:xfrm>
            <a:off x="5082392" y="4135895"/>
            <a:ext cx="1327319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 Kubernetes</a:t>
            </a:r>
            <a:b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Fleet Manager</a:t>
            </a:r>
          </a:p>
        </p:txBody>
      </p:sp>
      <p:sp>
        <p:nvSpPr>
          <p:cNvPr id="73" name="Rounded Rectangle 72" descr="Managed databases - Azure cloud database services include Azure Database for PostgreSQL, Azure Cosmos DB, Azure SQL, and Azure Database for MySQL and MariaDB">
            <a:extLst>
              <a:ext uri="{FF2B5EF4-FFF2-40B4-BE49-F238E27FC236}">
                <a16:creationId xmlns:a16="http://schemas.microsoft.com/office/drawing/2014/main" id="{D7971115-7D2F-D0C6-A0AD-24FD365018F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619760" y="3212894"/>
            <a:ext cx="3970788" cy="1549636"/>
          </a:xfrm>
          <a:prstGeom prst="roundRect">
            <a:avLst>
              <a:gd name="adj" fmla="val 11946"/>
            </a:avLst>
          </a:prstGeom>
          <a:noFill/>
          <a:ln w="12700" cap="rnd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76" name="Group 75" descr="Storage - Microsoft cloud services include Azure Storage ">
            <a:extLst>
              <a:ext uri="{FF2B5EF4-FFF2-40B4-BE49-F238E27FC236}">
                <a16:creationId xmlns:a16="http://schemas.microsoft.com/office/drawing/2014/main" id="{93D0DC59-47E4-910D-91FA-E139A334C77E}"/>
              </a:ext>
            </a:extLst>
          </p:cNvPr>
          <p:cNvGrpSpPr/>
          <p:nvPr/>
        </p:nvGrpSpPr>
        <p:grpSpPr>
          <a:xfrm>
            <a:off x="10621951" y="3209398"/>
            <a:ext cx="1327319" cy="1549636"/>
            <a:chOff x="7817709" y="1239235"/>
            <a:chExt cx="1327319" cy="1549636"/>
          </a:xfrm>
        </p:grpSpPr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8714BFF3-8D7C-2C4D-94C7-34818684ABD6}"/>
                </a:ext>
              </a:extLst>
            </p:cNvPr>
            <p:cNvSpPr/>
            <p:nvPr/>
          </p:nvSpPr>
          <p:spPr bwMode="auto">
            <a:xfrm>
              <a:off x="7859324" y="1239235"/>
              <a:ext cx="1244089" cy="1549636"/>
            </a:xfrm>
            <a:prstGeom prst="roundRect">
              <a:avLst>
                <a:gd name="adj" fmla="val 10787"/>
              </a:avLst>
            </a:prstGeom>
            <a:noFill/>
            <a:ln w="12700" cap="rnd">
              <a:solidFill>
                <a:srgbClr val="D9D9D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D9DDEC48-2BDF-B15D-01DC-4721D9F79637}"/>
                </a:ext>
              </a:extLst>
            </p:cNvPr>
            <p:cNvSpPr txBox="1"/>
            <p:nvPr/>
          </p:nvSpPr>
          <p:spPr>
            <a:xfrm>
              <a:off x="8007609" y="1386248"/>
              <a:ext cx="947519" cy="1938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 marL="457183" defTabSz="914367">
                <a:defRPr sz="1765">
                  <a:solidFill>
                    <a:schemeClr val="lt1"/>
                  </a:solidFill>
                </a:defRPr>
              </a:lvl2pPr>
              <a:lvl3pPr marL="914367" defTabSz="914367">
                <a:defRPr sz="1765">
                  <a:solidFill>
                    <a:schemeClr val="lt1"/>
                  </a:solidFill>
                </a:defRPr>
              </a:lvl3pPr>
              <a:lvl4pPr marL="1371550" defTabSz="914367">
                <a:defRPr sz="1765">
                  <a:solidFill>
                    <a:schemeClr val="lt1"/>
                  </a:solidFill>
                </a:defRPr>
              </a:lvl4pPr>
              <a:lvl5pPr marL="1828734" defTabSz="914367">
                <a:defRPr sz="1765">
                  <a:solidFill>
                    <a:schemeClr val="lt1"/>
                  </a:solidFill>
                </a:defRPr>
              </a:lvl5pPr>
              <a:lvl6pPr marL="2285918" defTabSz="914367">
                <a:defRPr sz="1765">
                  <a:solidFill>
                    <a:schemeClr val="lt1"/>
                  </a:solidFill>
                </a:defRPr>
              </a:lvl6pPr>
              <a:lvl7pPr marL="2743101" defTabSz="914367">
                <a:defRPr sz="1765">
                  <a:solidFill>
                    <a:schemeClr val="lt1"/>
                  </a:solidFill>
                </a:defRPr>
              </a:lvl7pPr>
              <a:lvl8pPr marL="3200284" defTabSz="914367">
                <a:defRPr sz="1765">
                  <a:solidFill>
                    <a:schemeClr val="lt1"/>
                  </a:solidFill>
                </a:defRPr>
              </a:lvl8pPr>
              <a:lvl9pPr marL="3657469" defTabSz="914367">
                <a:defRPr sz="1765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torage</a:t>
              </a: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913DFD23-91E8-B118-775C-665C73F26303}"/>
                </a:ext>
              </a:extLst>
            </p:cNvPr>
            <p:cNvGrpSpPr/>
            <p:nvPr/>
          </p:nvGrpSpPr>
          <p:grpSpPr>
            <a:xfrm>
              <a:off x="7817709" y="1736636"/>
              <a:ext cx="1327319" cy="807335"/>
              <a:chOff x="8454524" y="2062136"/>
              <a:chExt cx="1327319" cy="807335"/>
            </a:xfrm>
          </p:grpSpPr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2CEFB441-594A-AAD7-F5AB-517FA7E526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rcRect/>
              <a:stretch/>
            </p:blipFill>
            <p:spPr>
              <a:xfrm>
                <a:off x="8949019" y="2062136"/>
                <a:ext cx="338328" cy="338328"/>
              </a:xfrm>
              <a:prstGeom prst="rect">
                <a:avLst/>
              </a:prstGeom>
            </p:spPr>
          </p:pic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FEA228F9-1886-6ABB-219A-26BA2D0208D8}"/>
                  </a:ext>
                </a:extLst>
              </p:cNvPr>
              <p:cNvSpPr txBox="1"/>
              <p:nvPr/>
            </p:nvSpPr>
            <p:spPr>
              <a:xfrm>
                <a:off x="8454524" y="2444739"/>
                <a:ext cx="1327319" cy="4247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</a:t>
                </a:r>
                <a:b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</a:b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Storage</a:t>
                </a:r>
              </a:p>
            </p:txBody>
          </p:sp>
        </p:grpSp>
      </p:grpSp>
      <p:grpSp>
        <p:nvGrpSpPr>
          <p:cNvPr id="82" name="Group 81" descr="Cloud operations anywhere - Azure Arc is a managed hybrid data service ">
            <a:extLst>
              <a:ext uri="{FF2B5EF4-FFF2-40B4-BE49-F238E27FC236}">
                <a16:creationId xmlns:a16="http://schemas.microsoft.com/office/drawing/2014/main" id="{506AFCC2-F4A8-4238-5B9A-7AF7F8A93EC4}"/>
              </a:ext>
            </a:extLst>
          </p:cNvPr>
          <p:cNvGrpSpPr/>
          <p:nvPr/>
        </p:nvGrpSpPr>
        <p:grpSpPr>
          <a:xfrm>
            <a:off x="3178533" y="4864563"/>
            <a:ext cx="8729122" cy="1030509"/>
            <a:chOff x="3178533" y="4830696"/>
            <a:chExt cx="8729122" cy="1030509"/>
          </a:xfrm>
        </p:grpSpPr>
        <p:sp>
          <p:nvSpPr>
            <p:cNvPr id="83" name="Rounded Rectangle 82">
              <a:extLst>
                <a:ext uri="{FF2B5EF4-FFF2-40B4-BE49-F238E27FC236}">
                  <a16:creationId xmlns:a16="http://schemas.microsoft.com/office/drawing/2014/main" id="{9BAF4F81-0FB3-9EC9-98C3-5596AB233851}"/>
                </a:ext>
              </a:extLst>
            </p:cNvPr>
            <p:cNvSpPr/>
            <p:nvPr/>
          </p:nvSpPr>
          <p:spPr bwMode="auto">
            <a:xfrm>
              <a:off x="3178533" y="4830696"/>
              <a:ext cx="8729122" cy="1030509"/>
            </a:xfrm>
            <a:prstGeom prst="roundRect">
              <a:avLst/>
            </a:prstGeom>
            <a:noFill/>
            <a:ln w="12700" cap="rnd">
              <a:solidFill>
                <a:srgbClr val="D9D9D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AFC583F5-F83D-8E79-AA95-EB08C1C3C7FF}"/>
                </a:ext>
              </a:extLst>
            </p:cNvPr>
            <p:cNvSpPr txBox="1"/>
            <p:nvPr/>
          </p:nvSpPr>
          <p:spPr>
            <a:xfrm>
              <a:off x="6409711" y="4960927"/>
              <a:ext cx="2234201" cy="1938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-40" normalizeH="0" baseline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</a:defRPr>
              </a:lvl1pPr>
              <a:lvl2pPr marL="457183" defTabSz="914367">
                <a:defRPr sz="1765">
                  <a:solidFill>
                    <a:schemeClr val="lt1"/>
                  </a:solidFill>
                </a:defRPr>
              </a:lvl2pPr>
              <a:lvl3pPr marL="914367" defTabSz="914367">
                <a:defRPr sz="1765">
                  <a:solidFill>
                    <a:schemeClr val="lt1"/>
                  </a:solidFill>
                </a:defRPr>
              </a:lvl3pPr>
              <a:lvl4pPr marL="1371550" defTabSz="914367">
                <a:defRPr sz="1765">
                  <a:solidFill>
                    <a:schemeClr val="lt1"/>
                  </a:solidFill>
                </a:defRPr>
              </a:lvl4pPr>
              <a:lvl5pPr marL="1828734" defTabSz="914367">
                <a:defRPr sz="1765">
                  <a:solidFill>
                    <a:schemeClr val="lt1"/>
                  </a:solidFill>
                </a:defRPr>
              </a:lvl5pPr>
              <a:lvl6pPr marL="2285918" defTabSz="914367">
                <a:defRPr sz="1765">
                  <a:solidFill>
                    <a:schemeClr val="lt1"/>
                  </a:solidFill>
                </a:defRPr>
              </a:lvl6pPr>
              <a:lvl7pPr marL="2743101" defTabSz="914367">
                <a:defRPr sz="1765">
                  <a:solidFill>
                    <a:schemeClr val="lt1"/>
                  </a:solidFill>
                </a:defRPr>
              </a:lvl7pPr>
              <a:lvl8pPr marL="3200284" defTabSz="914367">
                <a:defRPr sz="1765">
                  <a:solidFill>
                    <a:schemeClr val="lt1"/>
                  </a:solidFill>
                </a:defRPr>
              </a:lvl8pPr>
              <a:lvl9pPr marL="3657469" defTabSz="914367">
                <a:defRPr sz="1765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loud operations anywhere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C0622EB2-838A-EBBD-6366-B7FDD6384AEF}"/>
                </a:ext>
              </a:extLst>
            </p:cNvPr>
            <p:cNvGrpSpPr/>
            <p:nvPr/>
          </p:nvGrpSpPr>
          <p:grpSpPr>
            <a:xfrm>
              <a:off x="7178223" y="5159832"/>
              <a:ext cx="697178" cy="677496"/>
              <a:chOff x="5135592" y="5329773"/>
              <a:chExt cx="697178" cy="677496"/>
            </a:xfrm>
          </p:grpSpPr>
          <p:pic>
            <p:nvPicPr>
              <p:cNvPr id="86" name="Picture 7">
                <a:extLst>
                  <a:ext uri="{FF2B5EF4-FFF2-40B4-BE49-F238E27FC236}">
                    <a16:creationId xmlns:a16="http://schemas.microsoft.com/office/drawing/2014/main" id="{9A7D7998-701A-8AD9-A979-AE67D2E7BC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 t="3913" b="3913"/>
              <a:stretch/>
            </p:blipFill>
            <p:spPr>
              <a:xfrm>
                <a:off x="5281743" y="5329773"/>
                <a:ext cx="404876" cy="373193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2F63407A-23B0-797A-F4FB-954FF95DFEFA}"/>
                  </a:ext>
                </a:extLst>
              </p:cNvPr>
              <p:cNvSpPr txBox="1"/>
              <p:nvPr/>
            </p:nvSpPr>
            <p:spPr>
              <a:xfrm>
                <a:off x="5135592" y="5674870"/>
                <a:ext cx="697178" cy="332399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defTabSz="932472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200" b="0" i="0" u="none" strike="noStrike" cap="none" spc="-40" normalizeH="0" baseline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-4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Arc</a:t>
                </a:r>
              </a:p>
            </p:txBody>
          </p: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225C7AC2-43A1-388F-0341-498F05F2C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387597" y="3339033"/>
            <a:ext cx="2234201" cy="1938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defTabSz="932472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0" i="0" u="none" strike="noStrike" cap="none" spc="-40" normalizeH="0" baseline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defRPr>
            </a:lvl1pPr>
            <a:lvl2pPr marL="457183" defTabSz="914367">
              <a:defRPr sz="1765">
                <a:solidFill>
                  <a:schemeClr val="lt1"/>
                </a:solidFill>
              </a:defRPr>
            </a:lvl2pPr>
            <a:lvl3pPr marL="914367" defTabSz="914367">
              <a:defRPr sz="1765">
                <a:solidFill>
                  <a:schemeClr val="lt1"/>
                </a:solidFill>
              </a:defRPr>
            </a:lvl3pPr>
            <a:lvl4pPr marL="1371550" defTabSz="914367">
              <a:defRPr sz="1765">
                <a:solidFill>
                  <a:schemeClr val="lt1"/>
                </a:solidFill>
              </a:defRPr>
            </a:lvl4pPr>
            <a:lvl5pPr marL="1828734" defTabSz="914367">
              <a:defRPr sz="1765">
                <a:solidFill>
                  <a:schemeClr val="lt1"/>
                </a:solidFill>
              </a:defRPr>
            </a:lvl5pPr>
            <a:lvl6pPr marL="2285918" defTabSz="914367">
              <a:defRPr sz="1765">
                <a:solidFill>
                  <a:schemeClr val="lt1"/>
                </a:solidFill>
              </a:defRPr>
            </a:lvl6pPr>
            <a:lvl7pPr marL="2743101" defTabSz="914367">
              <a:defRPr sz="1765">
                <a:solidFill>
                  <a:schemeClr val="lt1"/>
                </a:solidFill>
              </a:defRPr>
            </a:lvl7pPr>
            <a:lvl8pPr marL="3200284" defTabSz="914367">
              <a:defRPr sz="1765">
                <a:solidFill>
                  <a:schemeClr val="lt1"/>
                </a:solidFill>
              </a:defRPr>
            </a:lvl8pPr>
            <a:lvl9pPr marL="3657469" defTabSz="914367">
              <a:defRPr sz="1765"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anaged database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E1F53D7-E118-ABD0-6A81-43337182E1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571171" y="4092898"/>
            <a:ext cx="1327319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</a:t>
            </a:r>
            <a:b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ostgreSQ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9B34569-CDD7-D2DC-BAA5-FABDD85DA9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492815" y="4102174"/>
            <a:ext cx="1327319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</a:t>
            </a:r>
            <a:b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smos DB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9FF4D3B-1745-7F5F-29DF-868899B2F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371963" y="3710295"/>
            <a:ext cx="1327319" cy="807335"/>
            <a:chOff x="8490198" y="2062136"/>
            <a:chExt cx="1327319" cy="807335"/>
          </a:xfrm>
        </p:grpSpPr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6529ABAE-7F24-DB82-5AB5-FB266C746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/>
            <a:stretch/>
          </p:blipFill>
          <p:spPr>
            <a:xfrm>
              <a:off x="8984693" y="2062136"/>
              <a:ext cx="338328" cy="338328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40FBACB-C7FE-B814-0F78-048ED885B5B7}"/>
                </a:ext>
              </a:extLst>
            </p:cNvPr>
            <p:cNvSpPr txBox="1"/>
            <p:nvPr/>
          </p:nvSpPr>
          <p:spPr>
            <a:xfrm>
              <a:off x="8490198" y="2444739"/>
              <a:ext cx="1327319" cy="42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</a:t>
              </a:r>
              <a:b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QL family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8FBDBA33-7AC1-555C-4A4F-C124CAD113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293607" y="3691271"/>
            <a:ext cx="1327319" cy="962062"/>
            <a:chOff x="9387183" y="652315"/>
            <a:chExt cx="1327319" cy="962062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801B8D2-87FB-2EE1-EB99-211264D2D5DD}"/>
                </a:ext>
              </a:extLst>
            </p:cNvPr>
            <p:cNvSpPr txBox="1"/>
            <p:nvPr/>
          </p:nvSpPr>
          <p:spPr>
            <a:xfrm>
              <a:off x="9387183" y="1023446"/>
              <a:ext cx="1327319" cy="5909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</a:t>
              </a:r>
              <a:b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ySQL &amp; MariaDB</a:t>
              </a:r>
            </a:p>
          </p:txBody>
        </p:sp>
        <p:grpSp>
          <p:nvGrpSpPr>
            <p:cNvPr id="95" name="Group 94" descr="Azure MySQL logo and Azure MariaDB logo">
              <a:extLst>
                <a:ext uri="{FF2B5EF4-FFF2-40B4-BE49-F238E27FC236}">
                  <a16:creationId xmlns:a16="http://schemas.microsoft.com/office/drawing/2014/main" id="{52755E31-2E3F-8641-81B3-C35002DF9C8E}"/>
                </a:ext>
              </a:extLst>
            </p:cNvPr>
            <p:cNvGrpSpPr/>
            <p:nvPr/>
          </p:nvGrpSpPr>
          <p:grpSpPr>
            <a:xfrm>
              <a:off x="9739807" y="652315"/>
              <a:ext cx="622070" cy="335695"/>
              <a:chOff x="4111882" y="3200655"/>
              <a:chExt cx="1084452" cy="585216"/>
            </a:xfrm>
          </p:grpSpPr>
          <p:pic>
            <p:nvPicPr>
              <p:cNvPr id="96" name="Graphic 95">
                <a:extLst>
                  <a:ext uri="{FF2B5EF4-FFF2-40B4-BE49-F238E27FC236}">
                    <a16:creationId xmlns:a16="http://schemas.microsoft.com/office/drawing/2014/main" id="{FCB2D934-F427-2AC4-93AE-D03C84C34DE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4111882" y="3200655"/>
                <a:ext cx="585216" cy="585216"/>
              </a:xfrm>
              <a:prstGeom prst="rect">
                <a:avLst/>
              </a:prstGeom>
            </p:spPr>
          </p:pic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392C6300-AA43-3BB3-C39C-0AD8252F967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4611118" y="3200655"/>
                <a:ext cx="585216" cy="585216"/>
              </a:xfrm>
              <a:prstGeom prst="rect">
                <a:avLst/>
              </a:prstGeom>
            </p:spPr>
          </p:pic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E4A4832-21E4-EB9E-6FA3-3B7C1D090A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5400000">
            <a:off x="4660658" y="4637008"/>
            <a:ext cx="399688" cy="399686"/>
            <a:chOff x="7486595" y="3685943"/>
            <a:chExt cx="399688" cy="39968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C7A25BC-717E-67A5-68B3-66C6756DFC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486595" y="3685943"/>
              <a:ext cx="399688" cy="399686"/>
            </a:xfrm>
            <a:prstGeom prst="ellipse">
              <a:avLst/>
            </a:prstGeom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ln w="19050" cap="rnd"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8288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4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7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37" name="arrow">
              <a:extLst>
                <a:ext uri="{FF2B5EF4-FFF2-40B4-BE49-F238E27FC236}">
                  <a16:creationId xmlns:a16="http://schemas.microsoft.com/office/drawing/2014/main" id="{80611E74-C46D-311A-4FB6-C62BC53C249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77065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arrow">
              <a:extLst>
                <a:ext uri="{FF2B5EF4-FFF2-40B4-BE49-F238E27FC236}">
                  <a16:creationId xmlns:a16="http://schemas.microsoft.com/office/drawing/2014/main" id="{19840AF9-1644-F45D-4AB8-B6DD2E3315F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559613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06F13B35-A28C-F292-97CD-2806258CC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176507" y="1745508"/>
            <a:ext cx="2234201" cy="1938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defTabSz="932472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0" i="0" u="none" strike="noStrike" cap="none" spc="-40" normalizeH="0" baseline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defRPr>
            </a:lvl1pPr>
            <a:lvl2pPr marL="457183" defTabSz="914367">
              <a:defRPr sz="1765">
                <a:solidFill>
                  <a:schemeClr val="lt1"/>
                </a:solidFill>
              </a:defRPr>
            </a:lvl2pPr>
            <a:lvl3pPr marL="914367" defTabSz="914367">
              <a:defRPr sz="1765">
                <a:solidFill>
                  <a:schemeClr val="lt1"/>
                </a:solidFill>
              </a:defRPr>
            </a:lvl3pPr>
            <a:lvl4pPr marL="1371550" defTabSz="914367">
              <a:defRPr sz="1765">
                <a:solidFill>
                  <a:schemeClr val="lt1"/>
                </a:solidFill>
              </a:defRPr>
            </a:lvl4pPr>
            <a:lvl5pPr marL="1828734" defTabSz="914367">
              <a:defRPr sz="1765">
                <a:solidFill>
                  <a:schemeClr val="lt1"/>
                </a:solidFill>
              </a:defRPr>
            </a:lvl5pPr>
            <a:lvl6pPr marL="2285918" defTabSz="914367">
              <a:defRPr sz="1765">
                <a:solidFill>
                  <a:schemeClr val="lt1"/>
                </a:solidFill>
              </a:defRPr>
            </a:lvl6pPr>
            <a:lvl7pPr marL="2743101" defTabSz="914367">
              <a:defRPr sz="1765">
                <a:solidFill>
                  <a:schemeClr val="lt1"/>
                </a:solidFill>
              </a:defRPr>
            </a:lvl7pPr>
            <a:lvl8pPr marL="3200284" defTabSz="914367">
              <a:defRPr sz="1765">
                <a:solidFill>
                  <a:schemeClr val="lt1"/>
                </a:solidFill>
              </a:defRPr>
            </a:lvl8pPr>
            <a:lvl9pPr marL="3657469" defTabSz="914367">
              <a:defRPr sz="1765"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</a:t>
            </a:r>
          </a:p>
        </p:txBody>
      </p:sp>
      <p:pic>
        <p:nvPicPr>
          <p:cNvPr id="114" name="Graphic 113">
            <a:extLst>
              <a:ext uri="{FF2B5EF4-FFF2-40B4-BE49-F238E27FC236}">
                <a16:creationId xmlns:a16="http://schemas.microsoft.com/office/drawing/2014/main" id="{287D70A5-EC53-DE00-91F3-A424351B06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548100" y="1999024"/>
            <a:ext cx="549021" cy="549021"/>
          </a:xfrm>
          <a:prstGeom prst="rect">
            <a:avLst/>
          </a:prstGeom>
        </p:spPr>
      </p:pic>
      <p:pic>
        <p:nvPicPr>
          <p:cNvPr id="115" name="Graphic 5">
            <a:extLst>
              <a:ext uri="{FF2B5EF4-FFF2-40B4-BE49-F238E27FC236}">
                <a16:creationId xmlns:a16="http://schemas.microsoft.com/office/drawing/2014/main" id="{98EE8954-6C79-54DF-0AFD-5ACD9C8D97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BEBA8EAE-BF5A-486C-A8C5-ECC9F3942E4B}">
                <a14:imgProps xmlns:a14="http://schemas.microsoft.com/office/drawing/2010/main">
                  <a14:imgLayer r:embed="rId3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073369" y="2041369"/>
            <a:ext cx="440476" cy="440476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6C97D0C2-60B8-A8E6-C56D-CDA780296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0475981" y="2003453"/>
            <a:ext cx="520794" cy="520794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3DFF5DC5-79CA-E0A0-DA10-9239C235B5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065666" y="3710295"/>
            <a:ext cx="325962" cy="338328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98734D58-5C1D-3AEB-8E73-260076A39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/>
          <a:stretch/>
        </p:blipFill>
        <p:spPr>
          <a:xfrm>
            <a:off x="7987310" y="3719571"/>
            <a:ext cx="325964" cy="338328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9C67B975-B53C-6F1A-DEBA-3815263F22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5400000">
            <a:off x="9172415" y="4637008"/>
            <a:ext cx="399688" cy="399686"/>
            <a:chOff x="7486595" y="3685943"/>
            <a:chExt cx="399688" cy="399686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6A1818D-2A3B-6A1B-C8ED-2F1272AFA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486595" y="3685943"/>
              <a:ext cx="399688" cy="399686"/>
            </a:xfrm>
            <a:prstGeom prst="ellipse">
              <a:avLst/>
            </a:prstGeom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ln w="19050" cap="rnd"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8288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4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7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arrow">
              <a:extLst>
                <a:ext uri="{FF2B5EF4-FFF2-40B4-BE49-F238E27FC236}">
                  <a16:creationId xmlns:a16="http://schemas.microsoft.com/office/drawing/2014/main" id="{A1492B20-F73C-F682-EB5C-BB5EB47A21A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77065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arrow">
              <a:extLst>
                <a:ext uri="{FF2B5EF4-FFF2-40B4-BE49-F238E27FC236}">
                  <a16:creationId xmlns:a16="http://schemas.microsoft.com/office/drawing/2014/main" id="{13057A1B-59EB-82D0-F880-880BB439118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559613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68B633A-9C97-62A3-A8BC-B4E001B18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931934" y="2944885"/>
            <a:ext cx="399688" cy="399686"/>
            <a:chOff x="7486595" y="3685943"/>
            <a:chExt cx="399688" cy="399686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9B0A2573-8857-833E-8B53-2F561F9DE8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486595" y="3685943"/>
              <a:ext cx="399688" cy="399686"/>
            </a:xfrm>
            <a:prstGeom prst="ellipse">
              <a:avLst/>
            </a:prstGeom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ln w="19050" cap="rnd"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8288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4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7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08" name="arrow">
              <a:extLst>
                <a:ext uri="{FF2B5EF4-FFF2-40B4-BE49-F238E27FC236}">
                  <a16:creationId xmlns:a16="http://schemas.microsoft.com/office/drawing/2014/main" id="{67D4E75E-D064-D7A3-D5EB-4B6271A627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77065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arrow">
              <a:extLst>
                <a:ext uri="{FF2B5EF4-FFF2-40B4-BE49-F238E27FC236}">
                  <a16:creationId xmlns:a16="http://schemas.microsoft.com/office/drawing/2014/main" id="{700527FE-17CC-D746-4801-4010D39E956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559613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0651C3D-63DF-056C-98B8-4923EC6A64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30589" y="2944885"/>
            <a:ext cx="399688" cy="399686"/>
            <a:chOff x="7486595" y="3685943"/>
            <a:chExt cx="399688" cy="39968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63A1D09-3DDE-CB76-3937-CEE1999302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486595" y="3685943"/>
              <a:ext cx="399688" cy="399686"/>
            </a:xfrm>
            <a:prstGeom prst="ellipse">
              <a:avLst/>
            </a:prstGeom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ln w="19050" cap="rnd">
              <a:noFill/>
              <a:headEnd type="none" w="med" len="med"/>
              <a:tailEnd type="none" w="med" len="med"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8288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4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7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7" name="arrow">
              <a:extLst>
                <a:ext uri="{FF2B5EF4-FFF2-40B4-BE49-F238E27FC236}">
                  <a16:creationId xmlns:a16="http://schemas.microsoft.com/office/drawing/2014/main" id="{1FD4455B-9403-A365-0606-D725A01210A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77065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arrow">
              <a:extLst>
                <a:ext uri="{FF2B5EF4-FFF2-40B4-BE49-F238E27FC236}">
                  <a16:creationId xmlns:a16="http://schemas.microsoft.com/office/drawing/2014/main" id="{3DA290C7-B5D3-4767-6E38-FB035271D68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559613" y="3822946"/>
              <a:ext cx="136200" cy="125679"/>
            </a:xfrm>
            <a:custGeom>
              <a:avLst/>
              <a:gdLst>
                <a:gd name="T0" fmla="*/ 133 w 246"/>
                <a:gd name="T1" fmla="*/ 0 h 227"/>
                <a:gd name="T2" fmla="*/ 246 w 246"/>
                <a:gd name="T3" fmla="*/ 113 h 227"/>
                <a:gd name="T4" fmla="*/ 133 w 246"/>
                <a:gd name="T5" fmla="*/ 227 h 227"/>
                <a:gd name="T6" fmla="*/ 246 w 246"/>
                <a:gd name="T7" fmla="*/ 113 h 227"/>
                <a:gd name="T8" fmla="*/ 0 w 246"/>
                <a:gd name="T9" fmla="*/ 1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27">
                  <a:moveTo>
                    <a:pt x="133" y="0"/>
                  </a:moveTo>
                  <a:lnTo>
                    <a:pt x="246" y="113"/>
                  </a:lnTo>
                  <a:lnTo>
                    <a:pt x="133" y="227"/>
                  </a:lnTo>
                  <a:moveTo>
                    <a:pt x="246" y="113"/>
                  </a:moveTo>
                  <a:lnTo>
                    <a:pt x="0" y="1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60517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1.11111E-6 L -3.125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4.81481E-6 L -2.5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44" dur="7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54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5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64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69" dur="7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74" dur="7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79" dur="7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84" dur="7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89" dur="7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94" dur="700" spd="-100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29167E-6 -2.22222E-6 L -2.29167E-6 0.03542 " pathEditMode="relative" rAng="0" ptsTypes="AA">
                                      <p:cBhvr>
                                        <p:cTn id="99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04" dur="700" spd="-100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09" dur="700" spd="-100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14" dur="700" spd="-100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19" dur="700" spd="-100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24" dur="700" spd="-100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29" dur="700" spd="-100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34" dur="700" spd="-100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7.40741E-7 L 2.08333E-7 0.03542 " pathEditMode="relative" rAng="0" ptsTypes="AA">
                                      <p:cBhvr>
                                        <p:cTn id="139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00"/>
                            </p:stCondLst>
                            <p:childTnLst>
                              <p:par>
                                <p:cTn id="141" presetID="53" presetClass="entr" presetSubtype="16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7" dur="300" fill="hold"/>
                                        <p:tgtEl>
                                          <p:spTgt spid="10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48" presetID="53" presetClass="entr" presetSubtype="16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4" dur="300" fill="hold"/>
                                        <p:tgtEl>
                                          <p:spTgt spid="13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55" presetID="53" presetClass="entr" presetSubtype="16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1" dur="300" fill="hold"/>
                                        <p:tgtEl>
                                          <p:spTgt spid="33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62" presetID="53" presetClass="entr" presetSubtype="16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8" dur="300" fill="hold"/>
                                        <p:tgtEl>
                                          <p:spTgt spid="49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4" grpId="1" animBg="1"/>
      <p:bldP spid="113" grpId="0"/>
      <p:bldP spid="113" grpId="1"/>
      <p:bldP spid="111" grpId="0"/>
      <p:bldP spid="111" grpId="1"/>
      <p:bldP spid="112" grpId="0"/>
      <p:bldP spid="112" grpId="1"/>
      <p:bldP spid="70" grpId="0" animBg="1"/>
      <p:bldP spid="70" grpId="1" animBg="1"/>
      <p:bldP spid="72" grpId="0"/>
      <p:bldP spid="72" grpId="1"/>
      <p:bldP spid="71" grpId="0"/>
      <p:bldP spid="71" grpId="1"/>
      <p:bldP spid="125" grpId="0"/>
      <p:bldP spid="125" grpId="1"/>
      <p:bldP spid="73" grpId="0" animBg="1"/>
      <p:bldP spid="73" grpId="1" animBg="1"/>
      <p:bldP spid="75" grpId="0"/>
      <p:bldP spid="75" grpId="1"/>
      <p:bldP spid="88" grpId="0"/>
      <p:bldP spid="88" grpId="1"/>
      <p:bldP spid="89" grpId="0"/>
      <p:bldP spid="89" grpId="1"/>
      <p:bldP spid="110" grpId="0"/>
      <p:bldP spid="110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EF2D0-31FA-958C-1DB3-A25FFB101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culating Chargeback for BU/Projects</a:t>
            </a:r>
          </a:p>
        </p:txBody>
      </p:sp>
      <p:pic>
        <p:nvPicPr>
          <p:cNvPr id="1028" name="Picture 4" descr="usage-report">
            <a:extLst>
              <a:ext uri="{FF2B5EF4-FFF2-40B4-BE49-F238E27FC236}">
                <a16:creationId xmlns:a16="http://schemas.microsoft.com/office/drawing/2014/main" id="{AADBF80F-CC6D-5109-12AA-6A6D34A6D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159" y="1124452"/>
            <a:ext cx="9536915" cy="5276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4E5890-2964-E198-D11F-EE5A57158896}"/>
              </a:ext>
            </a:extLst>
          </p:cNvPr>
          <p:cNvSpPr txBox="1"/>
          <p:nvPr/>
        </p:nvSpPr>
        <p:spPr>
          <a:xfrm>
            <a:off x="99691" y="6479678"/>
            <a:ext cx="80886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https://github.com/Azure-Samples/ai-hub-gateway-solution-accelerator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511820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D9F76E8C-ECCD-3D75-8327-324826A3A4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11" y="146564"/>
            <a:ext cx="12118289" cy="65648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81876641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96" name="Group 1995">
            <a:extLst>
              <a:ext uri="{FF2B5EF4-FFF2-40B4-BE49-F238E27FC236}">
                <a16:creationId xmlns:a16="http://schemas.microsoft.com/office/drawing/2014/main" id="{3FA4072F-5AB4-A4F9-8343-FCC2E92FB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2757130">
            <a:off x="3123639" y="4043421"/>
            <a:ext cx="2935187" cy="2935188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2049" name="Group 2048">
              <a:extLst>
                <a:ext uri="{FF2B5EF4-FFF2-40B4-BE49-F238E27FC236}">
                  <a16:creationId xmlns:a16="http://schemas.microsoft.com/office/drawing/2014/main" id="{2972EF35-06F8-D045-3578-E9B84BE221AD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A4CD7895-BA6F-1612-0F2A-99C4710086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2057" name="Graphic 2056">
                <a:extLst>
                  <a:ext uri="{FF2B5EF4-FFF2-40B4-BE49-F238E27FC236}">
                    <a16:creationId xmlns:a16="http://schemas.microsoft.com/office/drawing/2014/main" id="{E61DBA5D-9CED-4B75-95C5-E128FD4669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2050" name="Group 2049">
              <a:extLst>
                <a:ext uri="{FF2B5EF4-FFF2-40B4-BE49-F238E27FC236}">
                  <a16:creationId xmlns:a16="http://schemas.microsoft.com/office/drawing/2014/main" id="{667CDAA1-508E-24A9-7868-742F831FB244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2054" name="Graphic 2053">
                <a:extLst>
                  <a:ext uri="{FF2B5EF4-FFF2-40B4-BE49-F238E27FC236}">
                    <a16:creationId xmlns:a16="http://schemas.microsoft.com/office/drawing/2014/main" id="{6B7DFEFB-BEF4-BD77-A1D9-4551EC2E49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2055" name="Graphic 2054">
                <a:extLst>
                  <a:ext uri="{FF2B5EF4-FFF2-40B4-BE49-F238E27FC236}">
                    <a16:creationId xmlns:a16="http://schemas.microsoft.com/office/drawing/2014/main" id="{E9B20104-023F-9D93-342A-66ACC2507C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2051" name="Group 2050">
              <a:extLst>
                <a:ext uri="{FF2B5EF4-FFF2-40B4-BE49-F238E27FC236}">
                  <a16:creationId xmlns:a16="http://schemas.microsoft.com/office/drawing/2014/main" id="{36596AF4-357B-A6CF-7BF2-FB4AE9FAC670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2052" name="Graphic 2051">
                <a:extLst>
                  <a:ext uri="{FF2B5EF4-FFF2-40B4-BE49-F238E27FC236}">
                    <a16:creationId xmlns:a16="http://schemas.microsoft.com/office/drawing/2014/main" id="{71460DC5-DE6D-203A-9424-03334D070C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2053" name="Graphic 2052">
                <a:extLst>
                  <a:ext uri="{FF2B5EF4-FFF2-40B4-BE49-F238E27FC236}">
                    <a16:creationId xmlns:a16="http://schemas.microsoft.com/office/drawing/2014/main" id="{E0FD7D81-2738-5D5C-E089-61CB97390A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1997" name="Graphic 5">
            <a:extLst>
              <a:ext uri="{FF2B5EF4-FFF2-40B4-BE49-F238E27FC236}">
                <a16:creationId xmlns:a16="http://schemas.microsoft.com/office/drawing/2014/main" id="{D43B7181-4BE1-CEB1-E300-798BF74DA2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4539962">
            <a:off x="3568879" y="4578135"/>
            <a:ext cx="2039458" cy="2103885"/>
            <a:chOff x="4071312" y="2489702"/>
            <a:chExt cx="3527294" cy="3638722"/>
          </a:xfrm>
          <a:noFill/>
        </p:grpSpPr>
        <p:sp>
          <p:nvSpPr>
            <p:cNvPr id="2037" name="Freeform: Shape 2036">
              <a:extLst>
                <a:ext uri="{FF2B5EF4-FFF2-40B4-BE49-F238E27FC236}">
                  <a16:creationId xmlns:a16="http://schemas.microsoft.com/office/drawing/2014/main" id="{A5897ABE-9B84-2F5A-0710-3E9672D51228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8" name="Freeform: Shape 2037">
              <a:extLst>
                <a:ext uri="{FF2B5EF4-FFF2-40B4-BE49-F238E27FC236}">
                  <a16:creationId xmlns:a16="http://schemas.microsoft.com/office/drawing/2014/main" id="{4E2CCADF-A4FF-DDAD-91D4-2CBAEB10F3F6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9" name="Freeform: Shape 2038">
              <a:extLst>
                <a:ext uri="{FF2B5EF4-FFF2-40B4-BE49-F238E27FC236}">
                  <a16:creationId xmlns:a16="http://schemas.microsoft.com/office/drawing/2014/main" id="{20E1CBB7-0D5B-3F64-A60A-8A0BDE430B29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0" name="Freeform: Shape 2039">
              <a:extLst>
                <a:ext uri="{FF2B5EF4-FFF2-40B4-BE49-F238E27FC236}">
                  <a16:creationId xmlns:a16="http://schemas.microsoft.com/office/drawing/2014/main" id="{D3ABB933-FA1F-04B2-9422-FC3DABD7ACE8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1" name="Freeform: Shape 2040">
              <a:extLst>
                <a:ext uri="{FF2B5EF4-FFF2-40B4-BE49-F238E27FC236}">
                  <a16:creationId xmlns:a16="http://schemas.microsoft.com/office/drawing/2014/main" id="{91BF9F16-BBFD-64B4-C31D-79F30E344979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2" name="Freeform: Shape 2041">
              <a:extLst>
                <a:ext uri="{FF2B5EF4-FFF2-40B4-BE49-F238E27FC236}">
                  <a16:creationId xmlns:a16="http://schemas.microsoft.com/office/drawing/2014/main" id="{D3962AA3-AE7D-E4AA-7267-B11925010E43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3" name="Freeform: Shape 2042">
              <a:extLst>
                <a:ext uri="{FF2B5EF4-FFF2-40B4-BE49-F238E27FC236}">
                  <a16:creationId xmlns:a16="http://schemas.microsoft.com/office/drawing/2014/main" id="{72849E08-027E-9C30-C6F0-CA908D0E7363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4" name="Freeform: Shape 2043">
              <a:extLst>
                <a:ext uri="{FF2B5EF4-FFF2-40B4-BE49-F238E27FC236}">
                  <a16:creationId xmlns:a16="http://schemas.microsoft.com/office/drawing/2014/main" id="{10EBB6FC-6E8D-C085-369F-20D8ACABF173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5" name="Freeform: Shape 2044">
              <a:extLst>
                <a:ext uri="{FF2B5EF4-FFF2-40B4-BE49-F238E27FC236}">
                  <a16:creationId xmlns:a16="http://schemas.microsoft.com/office/drawing/2014/main" id="{0DC525AF-93FF-791D-A82A-F53445DBBAD6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6" name="Freeform: Shape 2045">
              <a:extLst>
                <a:ext uri="{FF2B5EF4-FFF2-40B4-BE49-F238E27FC236}">
                  <a16:creationId xmlns:a16="http://schemas.microsoft.com/office/drawing/2014/main" id="{06DE6462-384D-AD87-E289-02F841AD8F9D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7" name="Freeform: Shape 2046">
              <a:extLst>
                <a:ext uri="{FF2B5EF4-FFF2-40B4-BE49-F238E27FC236}">
                  <a16:creationId xmlns:a16="http://schemas.microsoft.com/office/drawing/2014/main" id="{74012514-E32F-24BE-2749-751DC84BDE9D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48" name="Freeform: Shape 2047">
              <a:extLst>
                <a:ext uri="{FF2B5EF4-FFF2-40B4-BE49-F238E27FC236}">
                  <a16:creationId xmlns:a16="http://schemas.microsoft.com/office/drawing/2014/main" id="{33C85397-FDF3-F004-6B05-D2CBAD81272E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98" name="Graphic 5">
            <a:extLst>
              <a:ext uri="{FF2B5EF4-FFF2-40B4-BE49-F238E27FC236}">
                <a16:creationId xmlns:a16="http://schemas.microsoft.com/office/drawing/2014/main" id="{3E471EC4-5C56-4437-7FAF-F0F2685C9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0574432">
            <a:off x="3368804" y="4303538"/>
            <a:ext cx="2476400" cy="2415487"/>
            <a:chOff x="4270587" y="2574268"/>
            <a:chExt cx="3544376" cy="3457192"/>
          </a:xfrm>
          <a:noFill/>
        </p:grpSpPr>
        <p:sp>
          <p:nvSpPr>
            <p:cNvPr id="2025" name="Freeform: Shape 2024">
              <a:extLst>
                <a:ext uri="{FF2B5EF4-FFF2-40B4-BE49-F238E27FC236}">
                  <a16:creationId xmlns:a16="http://schemas.microsoft.com/office/drawing/2014/main" id="{0C345AE4-B87D-CB06-A8F2-73432F4EC1F6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6" name="Freeform: Shape 2025">
              <a:extLst>
                <a:ext uri="{FF2B5EF4-FFF2-40B4-BE49-F238E27FC236}">
                  <a16:creationId xmlns:a16="http://schemas.microsoft.com/office/drawing/2014/main" id="{AA19CCDC-F273-E70D-2A4E-6F82CEC41D19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7" name="Freeform: Shape 2026">
              <a:extLst>
                <a:ext uri="{FF2B5EF4-FFF2-40B4-BE49-F238E27FC236}">
                  <a16:creationId xmlns:a16="http://schemas.microsoft.com/office/drawing/2014/main" id="{45D6C8E7-328B-3FD7-0121-B5C4D86E05FD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8" name="Freeform: Shape 2027">
              <a:extLst>
                <a:ext uri="{FF2B5EF4-FFF2-40B4-BE49-F238E27FC236}">
                  <a16:creationId xmlns:a16="http://schemas.microsoft.com/office/drawing/2014/main" id="{55716E1B-5352-477D-58AB-C683CE87C1F5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9" name="Freeform: Shape 2028">
              <a:extLst>
                <a:ext uri="{FF2B5EF4-FFF2-40B4-BE49-F238E27FC236}">
                  <a16:creationId xmlns:a16="http://schemas.microsoft.com/office/drawing/2014/main" id="{B8A792B2-6568-C8C2-88EA-229B3C2DA9AE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0" name="Freeform: Shape 2029">
              <a:extLst>
                <a:ext uri="{FF2B5EF4-FFF2-40B4-BE49-F238E27FC236}">
                  <a16:creationId xmlns:a16="http://schemas.microsoft.com/office/drawing/2014/main" id="{21EA9261-B48B-0BD6-FB5E-A22BB4A0923D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1" name="Freeform: Shape 2030">
              <a:extLst>
                <a:ext uri="{FF2B5EF4-FFF2-40B4-BE49-F238E27FC236}">
                  <a16:creationId xmlns:a16="http://schemas.microsoft.com/office/drawing/2014/main" id="{CA741470-4C52-3515-64CD-7246D0E0759D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2" name="Freeform: Shape 2031">
              <a:extLst>
                <a:ext uri="{FF2B5EF4-FFF2-40B4-BE49-F238E27FC236}">
                  <a16:creationId xmlns:a16="http://schemas.microsoft.com/office/drawing/2014/main" id="{059D1E74-2118-3D07-68CC-F90AEF4D87DE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3" name="Freeform: Shape 2032">
              <a:extLst>
                <a:ext uri="{FF2B5EF4-FFF2-40B4-BE49-F238E27FC236}">
                  <a16:creationId xmlns:a16="http://schemas.microsoft.com/office/drawing/2014/main" id="{5936D2C1-342B-D4F3-862D-A7023AE5923F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4" name="Freeform: Shape 2033">
              <a:extLst>
                <a:ext uri="{FF2B5EF4-FFF2-40B4-BE49-F238E27FC236}">
                  <a16:creationId xmlns:a16="http://schemas.microsoft.com/office/drawing/2014/main" id="{457AD88C-865B-C5CC-54FA-AC291D2ABC56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5" name="Freeform: Shape 2034">
              <a:extLst>
                <a:ext uri="{FF2B5EF4-FFF2-40B4-BE49-F238E27FC236}">
                  <a16:creationId xmlns:a16="http://schemas.microsoft.com/office/drawing/2014/main" id="{66E7ECB5-312D-45E8-7C0F-B1501399C3C4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36" name="Freeform: Shape 2035">
              <a:extLst>
                <a:ext uri="{FF2B5EF4-FFF2-40B4-BE49-F238E27FC236}">
                  <a16:creationId xmlns:a16="http://schemas.microsoft.com/office/drawing/2014/main" id="{6B11EFA0-3BDE-05F5-C8E8-27EAE881F7BD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99" name="Graphic 5">
            <a:extLst>
              <a:ext uri="{FF2B5EF4-FFF2-40B4-BE49-F238E27FC236}">
                <a16:creationId xmlns:a16="http://schemas.microsoft.com/office/drawing/2014/main" id="{3749B409-EBAD-46FE-A1EE-FA51FCB31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9537152">
            <a:off x="2959959" y="4400837"/>
            <a:ext cx="3322111" cy="2161676"/>
            <a:chOff x="3224705" y="2448010"/>
            <a:chExt cx="5745675" cy="3738674"/>
          </a:xfrm>
          <a:noFill/>
        </p:grpSpPr>
        <p:sp>
          <p:nvSpPr>
            <p:cNvPr id="2013" name="Freeform: Shape 2012">
              <a:extLst>
                <a:ext uri="{FF2B5EF4-FFF2-40B4-BE49-F238E27FC236}">
                  <a16:creationId xmlns:a16="http://schemas.microsoft.com/office/drawing/2014/main" id="{CC0E672A-B2B2-23DE-99E7-188D9CDC41AE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4" name="Freeform: Shape 2013">
              <a:extLst>
                <a:ext uri="{FF2B5EF4-FFF2-40B4-BE49-F238E27FC236}">
                  <a16:creationId xmlns:a16="http://schemas.microsoft.com/office/drawing/2014/main" id="{E57F21FE-C8B2-C2FC-1537-C8F53784CA28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5" name="Freeform: Shape 2014">
              <a:extLst>
                <a:ext uri="{FF2B5EF4-FFF2-40B4-BE49-F238E27FC236}">
                  <a16:creationId xmlns:a16="http://schemas.microsoft.com/office/drawing/2014/main" id="{0A77D501-5D74-D183-4DB9-DA50F050D807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6" name="Freeform: Shape 2015">
              <a:extLst>
                <a:ext uri="{FF2B5EF4-FFF2-40B4-BE49-F238E27FC236}">
                  <a16:creationId xmlns:a16="http://schemas.microsoft.com/office/drawing/2014/main" id="{D0EA15B3-4F5A-123D-49AD-A93F5B681407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7" name="Freeform: Shape 2016">
              <a:extLst>
                <a:ext uri="{FF2B5EF4-FFF2-40B4-BE49-F238E27FC236}">
                  <a16:creationId xmlns:a16="http://schemas.microsoft.com/office/drawing/2014/main" id="{3A326DF6-A492-292A-2F27-D91EB70D2599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8" name="Freeform: Shape 2017">
              <a:extLst>
                <a:ext uri="{FF2B5EF4-FFF2-40B4-BE49-F238E27FC236}">
                  <a16:creationId xmlns:a16="http://schemas.microsoft.com/office/drawing/2014/main" id="{4747F66D-62C0-45E6-A197-438D46790841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9" name="Freeform: Shape 2018">
              <a:extLst>
                <a:ext uri="{FF2B5EF4-FFF2-40B4-BE49-F238E27FC236}">
                  <a16:creationId xmlns:a16="http://schemas.microsoft.com/office/drawing/2014/main" id="{028EC992-B09B-3BF2-2977-BA0C58D6EB80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0" name="Freeform: Shape 2019">
              <a:extLst>
                <a:ext uri="{FF2B5EF4-FFF2-40B4-BE49-F238E27FC236}">
                  <a16:creationId xmlns:a16="http://schemas.microsoft.com/office/drawing/2014/main" id="{C6D20D14-A184-146A-1A84-B46906BBE7B0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1" name="Freeform: Shape 2020">
              <a:extLst>
                <a:ext uri="{FF2B5EF4-FFF2-40B4-BE49-F238E27FC236}">
                  <a16:creationId xmlns:a16="http://schemas.microsoft.com/office/drawing/2014/main" id="{E32AD495-E13D-6D35-8A3A-B87F5A239516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2" name="Freeform: Shape 2021">
              <a:extLst>
                <a:ext uri="{FF2B5EF4-FFF2-40B4-BE49-F238E27FC236}">
                  <a16:creationId xmlns:a16="http://schemas.microsoft.com/office/drawing/2014/main" id="{794156BC-C287-251D-7CB8-09940BAF0DC4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3" name="Freeform: Shape 2022">
              <a:extLst>
                <a:ext uri="{FF2B5EF4-FFF2-40B4-BE49-F238E27FC236}">
                  <a16:creationId xmlns:a16="http://schemas.microsoft.com/office/drawing/2014/main" id="{53231121-4B42-17C5-10B1-AB447B110AEA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24" name="Freeform: Shape 2023">
              <a:extLst>
                <a:ext uri="{FF2B5EF4-FFF2-40B4-BE49-F238E27FC236}">
                  <a16:creationId xmlns:a16="http://schemas.microsoft.com/office/drawing/2014/main" id="{AF5E364E-D2F8-1198-250D-C1BE83E7EA6C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2000" name="Graphic 5">
            <a:extLst>
              <a:ext uri="{FF2B5EF4-FFF2-40B4-BE49-F238E27FC236}">
                <a16:creationId xmlns:a16="http://schemas.microsoft.com/office/drawing/2014/main" id="{459D9CD6-9A1C-D587-2A42-7352024C1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147855">
            <a:off x="3324817" y="4075710"/>
            <a:ext cx="2239898" cy="2863531"/>
            <a:chOff x="4061078" y="1549502"/>
            <a:chExt cx="3873961" cy="4952549"/>
          </a:xfrm>
          <a:noFill/>
        </p:grpSpPr>
        <p:sp>
          <p:nvSpPr>
            <p:cNvPr id="2001" name="Freeform: Shape 2000">
              <a:extLst>
                <a:ext uri="{FF2B5EF4-FFF2-40B4-BE49-F238E27FC236}">
                  <a16:creationId xmlns:a16="http://schemas.microsoft.com/office/drawing/2014/main" id="{B3B7CAD6-1CEE-4AD1-274A-623F8FAC52B5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2" name="Freeform: Shape 2001">
              <a:extLst>
                <a:ext uri="{FF2B5EF4-FFF2-40B4-BE49-F238E27FC236}">
                  <a16:creationId xmlns:a16="http://schemas.microsoft.com/office/drawing/2014/main" id="{6BF815D1-D0C4-B80E-6DCF-BE56AB6FB2AF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3" name="Freeform: Shape 2002">
              <a:extLst>
                <a:ext uri="{FF2B5EF4-FFF2-40B4-BE49-F238E27FC236}">
                  <a16:creationId xmlns:a16="http://schemas.microsoft.com/office/drawing/2014/main" id="{35A59956-528F-1B17-9C93-DD849CB6BC7A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4" name="Freeform: Shape 2003">
              <a:extLst>
                <a:ext uri="{FF2B5EF4-FFF2-40B4-BE49-F238E27FC236}">
                  <a16:creationId xmlns:a16="http://schemas.microsoft.com/office/drawing/2014/main" id="{D66CFBAB-0D7E-5514-9525-CF9FEFD0AF44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5" name="Freeform: Shape 2004">
              <a:extLst>
                <a:ext uri="{FF2B5EF4-FFF2-40B4-BE49-F238E27FC236}">
                  <a16:creationId xmlns:a16="http://schemas.microsoft.com/office/drawing/2014/main" id="{4F12CC4F-F33E-F350-0841-5C485F284C62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6" name="Freeform: Shape 2005">
              <a:extLst>
                <a:ext uri="{FF2B5EF4-FFF2-40B4-BE49-F238E27FC236}">
                  <a16:creationId xmlns:a16="http://schemas.microsoft.com/office/drawing/2014/main" id="{56849899-54C1-3105-D7E6-50FF9AEAF7B0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7" name="Freeform: Shape 2006">
              <a:extLst>
                <a:ext uri="{FF2B5EF4-FFF2-40B4-BE49-F238E27FC236}">
                  <a16:creationId xmlns:a16="http://schemas.microsoft.com/office/drawing/2014/main" id="{3EF3C34A-F697-725A-52BD-7A422787067A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8" name="Freeform: Shape 2007">
              <a:extLst>
                <a:ext uri="{FF2B5EF4-FFF2-40B4-BE49-F238E27FC236}">
                  <a16:creationId xmlns:a16="http://schemas.microsoft.com/office/drawing/2014/main" id="{68F47A0D-E068-66C4-98CD-75CB5C2951EF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09" name="Freeform: Shape 2008">
              <a:extLst>
                <a:ext uri="{FF2B5EF4-FFF2-40B4-BE49-F238E27FC236}">
                  <a16:creationId xmlns:a16="http://schemas.microsoft.com/office/drawing/2014/main" id="{33C060F5-4B84-579B-D955-077CF9AE72F6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0" name="Freeform: Shape 2009">
              <a:extLst>
                <a:ext uri="{FF2B5EF4-FFF2-40B4-BE49-F238E27FC236}">
                  <a16:creationId xmlns:a16="http://schemas.microsoft.com/office/drawing/2014/main" id="{3AF12370-336F-4270-50F3-429334B4C23A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1" name="Freeform: Shape 2010">
              <a:extLst>
                <a:ext uri="{FF2B5EF4-FFF2-40B4-BE49-F238E27FC236}">
                  <a16:creationId xmlns:a16="http://schemas.microsoft.com/office/drawing/2014/main" id="{5B2E6304-3859-ADB5-CDA6-80D52E68FD0D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12" name="Freeform: Shape 2011">
              <a:extLst>
                <a:ext uri="{FF2B5EF4-FFF2-40B4-BE49-F238E27FC236}">
                  <a16:creationId xmlns:a16="http://schemas.microsoft.com/office/drawing/2014/main" id="{5AA7A932-28E1-17D2-6C6A-6DD2860F6D56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484" name="Group 1483">
            <a:extLst>
              <a:ext uri="{FF2B5EF4-FFF2-40B4-BE49-F238E27FC236}">
                <a16:creationId xmlns:a16="http://schemas.microsoft.com/office/drawing/2014/main" id="{68F32916-19AD-81F6-3A70-15833ADA3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313653">
            <a:off x="6119369" y="4023259"/>
            <a:ext cx="2935187" cy="2935188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1986" name="Group 1985">
              <a:extLst>
                <a:ext uri="{FF2B5EF4-FFF2-40B4-BE49-F238E27FC236}">
                  <a16:creationId xmlns:a16="http://schemas.microsoft.com/office/drawing/2014/main" id="{B1E16B95-C7F9-106D-F8C4-9392D9F1F9A2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93" name="Graphic 1992">
                <a:extLst>
                  <a:ext uri="{FF2B5EF4-FFF2-40B4-BE49-F238E27FC236}">
                    <a16:creationId xmlns:a16="http://schemas.microsoft.com/office/drawing/2014/main" id="{8BFF58F9-371E-4A09-F742-150C0F0845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94" name="Graphic 1993">
                <a:extLst>
                  <a:ext uri="{FF2B5EF4-FFF2-40B4-BE49-F238E27FC236}">
                    <a16:creationId xmlns:a16="http://schemas.microsoft.com/office/drawing/2014/main" id="{4BBB0358-B1BC-C671-AB15-5EFBAE5B87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987" name="Group 1986">
              <a:extLst>
                <a:ext uri="{FF2B5EF4-FFF2-40B4-BE49-F238E27FC236}">
                  <a16:creationId xmlns:a16="http://schemas.microsoft.com/office/drawing/2014/main" id="{3C1536FF-38F8-30C6-40DD-BD30EBC5069B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91" name="Graphic 1990">
                <a:extLst>
                  <a:ext uri="{FF2B5EF4-FFF2-40B4-BE49-F238E27FC236}">
                    <a16:creationId xmlns:a16="http://schemas.microsoft.com/office/drawing/2014/main" id="{6DEAE6DF-0B4A-C7B1-BA6A-90B9DC7320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92" name="Graphic 1991">
                <a:extLst>
                  <a:ext uri="{FF2B5EF4-FFF2-40B4-BE49-F238E27FC236}">
                    <a16:creationId xmlns:a16="http://schemas.microsoft.com/office/drawing/2014/main" id="{AD7008B9-64EC-F11D-A3ED-F164023EBC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988" name="Group 1987">
              <a:extLst>
                <a:ext uri="{FF2B5EF4-FFF2-40B4-BE49-F238E27FC236}">
                  <a16:creationId xmlns:a16="http://schemas.microsoft.com/office/drawing/2014/main" id="{5FDD6FD4-49B1-CF93-D055-A4E68B62F1EE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89" name="Graphic 1988">
                <a:extLst>
                  <a:ext uri="{FF2B5EF4-FFF2-40B4-BE49-F238E27FC236}">
                    <a16:creationId xmlns:a16="http://schemas.microsoft.com/office/drawing/2014/main" id="{1858BE74-E17A-51A3-90FD-3E7882EB78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90" name="Graphic 1989">
                <a:extLst>
                  <a:ext uri="{FF2B5EF4-FFF2-40B4-BE49-F238E27FC236}">
                    <a16:creationId xmlns:a16="http://schemas.microsoft.com/office/drawing/2014/main" id="{AC83F065-ED52-9126-7FB8-5B8A5CE2A8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1485" name="Graphic 5">
            <a:extLst>
              <a:ext uri="{FF2B5EF4-FFF2-40B4-BE49-F238E27FC236}">
                <a16:creationId xmlns:a16="http://schemas.microsoft.com/office/drawing/2014/main" id="{BF3B248F-B028-E383-2CE9-95DA016123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7096485">
            <a:off x="6484698" y="4524763"/>
            <a:ext cx="2039458" cy="2103885"/>
            <a:chOff x="4071312" y="2489702"/>
            <a:chExt cx="3527294" cy="3638722"/>
          </a:xfrm>
          <a:noFill/>
        </p:grpSpPr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0FF5305A-6AF4-BAF1-AB25-56BF11885D1C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8339980-1F2E-288E-B7BF-615E58E6040C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A7E5E458-8EE8-CA2B-3AF0-07B9C2483410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881A5584-9309-6879-D6F6-2BF107FDF064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2087146F-363D-91F0-D9C7-E8D9C0FFA7DF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88BEBA66-2073-5C7F-A8B4-E4798A6EC925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980A2A08-68F7-8E69-E763-B9E3442ECB90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C3FBF6D0-75A8-CAE1-359C-C3711B3E2B8D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70256B7C-1DD9-9DBA-A1DB-71F35D8D6FBD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DF762F22-2D3B-689B-8ADF-0E0C2B6BB372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8627D7C8-8040-774F-94AE-12DF503A8945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85" name="Freeform: Shape 1984">
              <a:extLst>
                <a:ext uri="{FF2B5EF4-FFF2-40B4-BE49-F238E27FC236}">
                  <a16:creationId xmlns:a16="http://schemas.microsoft.com/office/drawing/2014/main" id="{11980A82-7C04-AEDA-CB89-5F3122556C23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486" name="Graphic 5">
            <a:extLst>
              <a:ext uri="{FF2B5EF4-FFF2-40B4-BE49-F238E27FC236}">
                <a16:creationId xmlns:a16="http://schemas.microsoft.com/office/drawing/2014/main" id="{D716BF3D-D8FB-4BB1-0FE9-B8D7061D6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30955">
            <a:off x="6360190" y="4293982"/>
            <a:ext cx="2476400" cy="2415487"/>
            <a:chOff x="4270587" y="2574268"/>
            <a:chExt cx="3544376" cy="3457192"/>
          </a:xfrm>
          <a:noFill/>
        </p:grpSpPr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BF0F53DA-30A1-C163-4F55-6115E582FF1D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8AF17FEB-D336-8267-4330-D52DCAF4D7A7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2B7AEAB8-7EBD-9C89-20C8-9A66DBE553E0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CCDA7FCE-94ED-1B6C-AFF5-79A759A88469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93B3912B-D4F1-EB11-4E6F-B3B939821671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1ADD1B7-7460-1B4D-27A4-745861E13794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02BFE89E-9975-567D-D208-620DE0C5B09B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9732EA9-C1B2-4C9B-3F44-930B99A6E7DA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8C3BE3DB-F492-165E-8792-D1A69F88A8CD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6445B3E2-12AB-373D-8726-5BBC75CFAC4C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BFA15B5-3443-9DFE-5D54-398C0EAB3815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E7ACA4DC-48C8-6FD7-770C-B0744AE7CC27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487" name="Graphic 5">
            <a:extLst>
              <a:ext uri="{FF2B5EF4-FFF2-40B4-BE49-F238E27FC236}">
                <a16:creationId xmlns:a16="http://schemas.microsoft.com/office/drawing/2014/main" id="{92EB023A-56ED-DA58-92F6-E86BB019B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493675">
            <a:off x="5967689" y="4408583"/>
            <a:ext cx="3322111" cy="2161676"/>
            <a:chOff x="3224705" y="2448010"/>
            <a:chExt cx="5745675" cy="3738674"/>
          </a:xfrm>
          <a:noFill/>
        </p:grpSpPr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E564946B-6C4E-17CB-C483-842C3CAEB998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2D48EBA4-7A03-59A2-A0FE-9EE438D6F2A2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EF616B43-CAF2-B0C6-C7E7-316E4556D6C6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D6432B77-344D-7D99-3FA9-509E095460A2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BF781466-873D-1D5D-9E21-599BCC5CDD9A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53BD7ED3-DB14-6318-9FEA-E1D2946876C4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51009AE6-F63E-37AE-E986-C8BBF849F83D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7F7081AB-A63A-34C3-5761-42BD60E2FB24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94969489-FEFE-291A-10DD-50FAF272C53A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93A93F8-CDAA-B459-77E8-8BB08300823B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B7A13B81-BBF6-FAA2-769A-C2FB924B5651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40D6A7E8-B29E-462D-2982-23F9A79311A1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488" name="Graphic 5">
            <a:extLst>
              <a:ext uri="{FF2B5EF4-FFF2-40B4-BE49-F238E27FC236}">
                <a16:creationId xmlns:a16="http://schemas.microsoft.com/office/drawing/2014/main" id="{2242FD21-BB7A-E72A-3EEE-1FEDA736D7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04378">
            <a:off x="6361611" y="3957326"/>
            <a:ext cx="2239898" cy="2863531"/>
            <a:chOff x="4061078" y="1549502"/>
            <a:chExt cx="3873961" cy="4952549"/>
          </a:xfrm>
          <a:noFill/>
        </p:grpSpPr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AFA4CBF3-3BA6-C17F-6330-703DD4CD9EEC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D76A9609-F726-16CB-E7D0-497E2C1A278A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4BC13C9F-115F-9D19-8199-795759411E45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CC005079-889B-4B14-23E2-5E540DCE4F1E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9CE70FB-A4B3-4E14-89B3-0E157280C9D5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7F175293-8408-65F9-B7F0-FF5C1F565A2E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0D41EAE6-1FC3-6954-0134-DA6DA6F5B244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06526EF6-C45A-D8E4-75CC-6557227AD723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4E830E29-BAA8-CDC1-C5C1-40C29803BB02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1840EF5D-4E2F-4AC7-B97C-12F736F68A2D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B41A8864-AEC4-9A2E-CF10-DE6054582F2F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79BB1B6A-E194-50EB-8CD4-F5F3C689AD07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28" name="Group 1927">
            <a:extLst>
              <a:ext uri="{FF2B5EF4-FFF2-40B4-BE49-F238E27FC236}">
                <a16:creationId xmlns:a16="http://schemas.microsoft.com/office/drawing/2014/main" id="{3AB66D34-414B-76FA-1E26-3B5AC74CE2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7357130">
            <a:off x="6081234" y="1476458"/>
            <a:ext cx="2935187" cy="2935188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1472" name="Group 1471">
              <a:extLst>
                <a:ext uri="{FF2B5EF4-FFF2-40B4-BE49-F238E27FC236}">
                  <a16:creationId xmlns:a16="http://schemas.microsoft.com/office/drawing/2014/main" id="{996A2BA2-F2D5-CC28-5111-86EE31493C40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479" name="Graphic 1478">
                <a:extLst>
                  <a:ext uri="{FF2B5EF4-FFF2-40B4-BE49-F238E27FC236}">
                    <a16:creationId xmlns:a16="http://schemas.microsoft.com/office/drawing/2014/main" id="{4DAF09CF-5F6C-47F1-3221-D68175E259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480" name="Graphic 1479">
                <a:extLst>
                  <a:ext uri="{FF2B5EF4-FFF2-40B4-BE49-F238E27FC236}">
                    <a16:creationId xmlns:a16="http://schemas.microsoft.com/office/drawing/2014/main" id="{00D8A714-76AA-2750-8C03-48EE21C514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473" name="Group 1472">
              <a:extLst>
                <a:ext uri="{FF2B5EF4-FFF2-40B4-BE49-F238E27FC236}">
                  <a16:creationId xmlns:a16="http://schemas.microsoft.com/office/drawing/2014/main" id="{19CFA62A-86DA-E832-937C-2D519F13FA7B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477" name="Graphic 1476">
                <a:extLst>
                  <a:ext uri="{FF2B5EF4-FFF2-40B4-BE49-F238E27FC236}">
                    <a16:creationId xmlns:a16="http://schemas.microsoft.com/office/drawing/2014/main" id="{585146C5-9264-4CC7-F766-AE6F3C3868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478" name="Graphic 1477">
                <a:extLst>
                  <a:ext uri="{FF2B5EF4-FFF2-40B4-BE49-F238E27FC236}">
                    <a16:creationId xmlns:a16="http://schemas.microsoft.com/office/drawing/2014/main" id="{BECA5C21-38F5-EE48-DAB1-19386E7332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474" name="Group 1473">
              <a:extLst>
                <a:ext uri="{FF2B5EF4-FFF2-40B4-BE49-F238E27FC236}">
                  <a16:creationId xmlns:a16="http://schemas.microsoft.com/office/drawing/2014/main" id="{288EF547-0DC1-C9E9-0406-48A4CF2040AD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475" name="Graphic 1474">
                <a:extLst>
                  <a:ext uri="{FF2B5EF4-FFF2-40B4-BE49-F238E27FC236}">
                    <a16:creationId xmlns:a16="http://schemas.microsoft.com/office/drawing/2014/main" id="{9273C6F3-9D08-FBE1-568F-B63BEDA586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476" name="Graphic 1475">
                <a:extLst>
                  <a:ext uri="{FF2B5EF4-FFF2-40B4-BE49-F238E27FC236}">
                    <a16:creationId xmlns:a16="http://schemas.microsoft.com/office/drawing/2014/main" id="{88B5114D-08C9-A55D-2205-ABC5EF017B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1929" name="Graphic 5">
            <a:extLst>
              <a:ext uri="{FF2B5EF4-FFF2-40B4-BE49-F238E27FC236}">
                <a16:creationId xmlns:a16="http://schemas.microsoft.com/office/drawing/2014/main" id="{150EB361-0784-BBF9-E969-2F6253F035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9139962">
            <a:off x="6648161" y="1894734"/>
            <a:ext cx="2039458" cy="2103885"/>
            <a:chOff x="4071312" y="2489702"/>
            <a:chExt cx="3527294" cy="3638722"/>
          </a:xfrm>
          <a:noFill/>
        </p:grpSpPr>
        <p:sp>
          <p:nvSpPr>
            <p:cNvPr id="1969" name="Freeform: Shape 1968">
              <a:extLst>
                <a:ext uri="{FF2B5EF4-FFF2-40B4-BE49-F238E27FC236}">
                  <a16:creationId xmlns:a16="http://schemas.microsoft.com/office/drawing/2014/main" id="{E7FF17ED-A73B-00EF-50E4-BD8A0B7FAAED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0" name="Freeform: Shape 1969">
              <a:extLst>
                <a:ext uri="{FF2B5EF4-FFF2-40B4-BE49-F238E27FC236}">
                  <a16:creationId xmlns:a16="http://schemas.microsoft.com/office/drawing/2014/main" id="{5B5F607E-BFD0-16E9-F098-4E8BE3BB2DDF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1" name="Freeform: Shape 1970">
              <a:extLst>
                <a:ext uri="{FF2B5EF4-FFF2-40B4-BE49-F238E27FC236}">
                  <a16:creationId xmlns:a16="http://schemas.microsoft.com/office/drawing/2014/main" id="{E0B3947C-ECCE-DDBC-83FF-8F24523C24AB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2" name="Freeform: Shape 1971">
              <a:extLst>
                <a:ext uri="{FF2B5EF4-FFF2-40B4-BE49-F238E27FC236}">
                  <a16:creationId xmlns:a16="http://schemas.microsoft.com/office/drawing/2014/main" id="{C42CFBD8-6920-A9F9-BA4B-01734EFA14A1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3" name="Freeform: Shape 1972">
              <a:extLst>
                <a:ext uri="{FF2B5EF4-FFF2-40B4-BE49-F238E27FC236}">
                  <a16:creationId xmlns:a16="http://schemas.microsoft.com/office/drawing/2014/main" id="{EEA4DBA1-C96A-6E88-75A5-70A5B38938A9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4" name="Freeform: Shape 1973">
              <a:extLst>
                <a:ext uri="{FF2B5EF4-FFF2-40B4-BE49-F238E27FC236}">
                  <a16:creationId xmlns:a16="http://schemas.microsoft.com/office/drawing/2014/main" id="{8C9A105C-48ED-5499-DD88-6366A1AA7CBE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5" name="Freeform: Shape 1974">
              <a:extLst>
                <a:ext uri="{FF2B5EF4-FFF2-40B4-BE49-F238E27FC236}">
                  <a16:creationId xmlns:a16="http://schemas.microsoft.com/office/drawing/2014/main" id="{7EA694DF-AC11-611C-695C-6A2D48A8AB83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6" name="Freeform: Shape 1975">
              <a:extLst>
                <a:ext uri="{FF2B5EF4-FFF2-40B4-BE49-F238E27FC236}">
                  <a16:creationId xmlns:a16="http://schemas.microsoft.com/office/drawing/2014/main" id="{021D7204-CEB4-1EBD-471C-CFD26D11888F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7" name="Freeform: Shape 1976">
              <a:extLst>
                <a:ext uri="{FF2B5EF4-FFF2-40B4-BE49-F238E27FC236}">
                  <a16:creationId xmlns:a16="http://schemas.microsoft.com/office/drawing/2014/main" id="{3B36D83A-67C9-8505-AF1C-7C1E2FE2DC62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8" name="Freeform: Shape 1977">
              <a:extLst>
                <a:ext uri="{FF2B5EF4-FFF2-40B4-BE49-F238E27FC236}">
                  <a16:creationId xmlns:a16="http://schemas.microsoft.com/office/drawing/2014/main" id="{8AA707D1-30F1-6D9B-281B-98DCE3C15711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79" name="Freeform: Shape 1978">
              <a:extLst>
                <a:ext uri="{FF2B5EF4-FFF2-40B4-BE49-F238E27FC236}">
                  <a16:creationId xmlns:a16="http://schemas.microsoft.com/office/drawing/2014/main" id="{56C299DE-DD8B-B417-CF87-167B6FDE626D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80" name="Freeform: Shape 1979">
              <a:extLst>
                <a:ext uri="{FF2B5EF4-FFF2-40B4-BE49-F238E27FC236}">
                  <a16:creationId xmlns:a16="http://schemas.microsoft.com/office/drawing/2014/main" id="{B1DEE094-86C8-734D-A7BE-75064A95A4FE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30" name="Graphic 5">
            <a:extLst>
              <a:ext uri="{FF2B5EF4-FFF2-40B4-BE49-F238E27FC236}">
                <a16:creationId xmlns:a16="http://schemas.microsoft.com/office/drawing/2014/main" id="{14EF4093-2B4A-1F8D-7346-20D70C1A77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174432">
            <a:off x="6310894" y="1720537"/>
            <a:ext cx="2476400" cy="2415487"/>
            <a:chOff x="4270587" y="2574268"/>
            <a:chExt cx="3544376" cy="3457192"/>
          </a:xfrm>
          <a:noFill/>
        </p:grpSpPr>
        <p:sp>
          <p:nvSpPr>
            <p:cNvPr id="1957" name="Freeform: Shape 1956">
              <a:extLst>
                <a:ext uri="{FF2B5EF4-FFF2-40B4-BE49-F238E27FC236}">
                  <a16:creationId xmlns:a16="http://schemas.microsoft.com/office/drawing/2014/main" id="{EDD84824-A0AD-F654-BA74-040FE783FC8A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8" name="Freeform: Shape 1957">
              <a:extLst>
                <a:ext uri="{FF2B5EF4-FFF2-40B4-BE49-F238E27FC236}">
                  <a16:creationId xmlns:a16="http://schemas.microsoft.com/office/drawing/2014/main" id="{3E832352-5578-7458-E540-942D33D343A6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9" name="Freeform: Shape 1958">
              <a:extLst>
                <a:ext uri="{FF2B5EF4-FFF2-40B4-BE49-F238E27FC236}">
                  <a16:creationId xmlns:a16="http://schemas.microsoft.com/office/drawing/2014/main" id="{2208AD38-22F4-7196-FE03-AE25DA62DE58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0" name="Freeform: Shape 1959">
              <a:extLst>
                <a:ext uri="{FF2B5EF4-FFF2-40B4-BE49-F238E27FC236}">
                  <a16:creationId xmlns:a16="http://schemas.microsoft.com/office/drawing/2014/main" id="{17E80BE8-BA9C-7CF2-B53B-B8F6F618E3D4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1" name="Freeform: Shape 1960">
              <a:extLst>
                <a:ext uri="{FF2B5EF4-FFF2-40B4-BE49-F238E27FC236}">
                  <a16:creationId xmlns:a16="http://schemas.microsoft.com/office/drawing/2014/main" id="{635E73E2-138F-A5D0-E01B-A1D94957AB77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2" name="Freeform: Shape 1961">
              <a:extLst>
                <a:ext uri="{FF2B5EF4-FFF2-40B4-BE49-F238E27FC236}">
                  <a16:creationId xmlns:a16="http://schemas.microsoft.com/office/drawing/2014/main" id="{E1B6F4D0-4940-7040-649F-8A0B7ADD5DF7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3" name="Freeform: Shape 1962">
              <a:extLst>
                <a:ext uri="{FF2B5EF4-FFF2-40B4-BE49-F238E27FC236}">
                  <a16:creationId xmlns:a16="http://schemas.microsoft.com/office/drawing/2014/main" id="{E6B6F49B-E7BD-BF0E-A229-A5CAF927AE37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4" name="Freeform: Shape 1963">
              <a:extLst>
                <a:ext uri="{FF2B5EF4-FFF2-40B4-BE49-F238E27FC236}">
                  <a16:creationId xmlns:a16="http://schemas.microsoft.com/office/drawing/2014/main" id="{D66AB784-3B72-D086-A1B3-DBC4E4D9DE43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5" name="Freeform: Shape 1964">
              <a:extLst>
                <a:ext uri="{FF2B5EF4-FFF2-40B4-BE49-F238E27FC236}">
                  <a16:creationId xmlns:a16="http://schemas.microsoft.com/office/drawing/2014/main" id="{CA383A70-A6CC-9BD3-A4D4-BBF820C37E8A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6" name="Freeform: Shape 1965">
              <a:extLst>
                <a:ext uri="{FF2B5EF4-FFF2-40B4-BE49-F238E27FC236}">
                  <a16:creationId xmlns:a16="http://schemas.microsoft.com/office/drawing/2014/main" id="{9EC73624-5BED-F917-0655-77E843A0DA30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7" name="Freeform: Shape 1966">
              <a:extLst>
                <a:ext uri="{FF2B5EF4-FFF2-40B4-BE49-F238E27FC236}">
                  <a16:creationId xmlns:a16="http://schemas.microsoft.com/office/drawing/2014/main" id="{50E913B9-1F01-E3B5-85E1-B96C6398C555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68" name="Freeform: Shape 1967">
              <a:extLst>
                <a:ext uri="{FF2B5EF4-FFF2-40B4-BE49-F238E27FC236}">
                  <a16:creationId xmlns:a16="http://schemas.microsoft.com/office/drawing/2014/main" id="{35AE4037-57B2-E4E9-619A-97AA21508E68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31" name="Graphic 5">
            <a:extLst>
              <a:ext uri="{FF2B5EF4-FFF2-40B4-BE49-F238E27FC236}">
                <a16:creationId xmlns:a16="http://schemas.microsoft.com/office/drawing/2014/main" id="{FB8C5187-3454-4146-4304-6454C236BA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4137152">
            <a:off x="5858432" y="1833432"/>
            <a:ext cx="3322111" cy="2161676"/>
            <a:chOff x="3224705" y="2448010"/>
            <a:chExt cx="5745675" cy="3738674"/>
          </a:xfrm>
          <a:noFill/>
        </p:grpSpPr>
        <p:sp>
          <p:nvSpPr>
            <p:cNvPr id="1945" name="Freeform: Shape 1944">
              <a:extLst>
                <a:ext uri="{FF2B5EF4-FFF2-40B4-BE49-F238E27FC236}">
                  <a16:creationId xmlns:a16="http://schemas.microsoft.com/office/drawing/2014/main" id="{E971BB7A-E428-ABE3-E4F0-289053D3B581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6" name="Freeform: Shape 1945">
              <a:extLst>
                <a:ext uri="{FF2B5EF4-FFF2-40B4-BE49-F238E27FC236}">
                  <a16:creationId xmlns:a16="http://schemas.microsoft.com/office/drawing/2014/main" id="{C6E2BD7E-171C-FA83-8818-1DDF742AA939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7" name="Freeform: Shape 1946">
              <a:extLst>
                <a:ext uri="{FF2B5EF4-FFF2-40B4-BE49-F238E27FC236}">
                  <a16:creationId xmlns:a16="http://schemas.microsoft.com/office/drawing/2014/main" id="{BED1F917-099B-EC27-7739-5FA6AF2718A1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8" name="Freeform: Shape 1947">
              <a:extLst>
                <a:ext uri="{FF2B5EF4-FFF2-40B4-BE49-F238E27FC236}">
                  <a16:creationId xmlns:a16="http://schemas.microsoft.com/office/drawing/2014/main" id="{D3707990-0905-1B7A-2644-3A96B98DCDFB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9" name="Freeform: Shape 1948">
              <a:extLst>
                <a:ext uri="{FF2B5EF4-FFF2-40B4-BE49-F238E27FC236}">
                  <a16:creationId xmlns:a16="http://schemas.microsoft.com/office/drawing/2014/main" id="{4E0DAF34-879C-ADEF-55A9-E4882D8B50EC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0" name="Freeform: Shape 1949">
              <a:extLst>
                <a:ext uri="{FF2B5EF4-FFF2-40B4-BE49-F238E27FC236}">
                  <a16:creationId xmlns:a16="http://schemas.microsoft.com/office/drawing/2014/main" id="{47B050A8-C24A-09F0-A867-6142EF720F03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1" name="Freeform: Shape 1950">
              <a:extLst>
                <a:ext uri="{FF2B5EF4-FFF2-40B4-BE49-F238E27FC236}">
                  <a16:creationId xmlns:a16="http://schemas.microsoft.com/office/drawing/2014/main" id="{1915E9DE-051F-EFE8-8902-425000B0E7EF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2" name="Freeform: Shape 1951">
              <a:extLst>
                <a:ext uri="{FF2B5EF4-FFF2-40B4-BE49-F238E27FC236}">
                  <a16:creationId xmlns:a16="http://schemas.microsoft.com/office/drawing/2014/main" id="{55328036-5B25-DB27-95A9-8F0F6B297A4B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3" name="Freeform: Shape 1952">
              <a:extLst>
                <a:ext uri="{FF2B5EF4-FFF2-40B4-BE49-F238E27FC236}">
                  <a16:creationId xmlns:a16="http://schemas.microsoft.com/office/drawing/2014/main" id="{E8A83ADB-9CD3-B7AC-EDCB-A481106560D4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4" name="Freeform: Shape 1953">
              <a:extLst>
                <a:ext uri="{FF2B5EF4-FFF2-40B4-BE49-F238E27FC236}">
                  <a16:creationId xmlns:a16="http://schemas.microsoft.com/office/drawing/2014/main" id="{718731CD-3F1D-A032-8B9E-59921C851D56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5" name="Freeform: Shape 1954">
              <a:extLst>
                <a:ext uri="{FF2B5EF4-FFF2-40B4-BE49-F238E27FC236}">
                  <a16:creationId xmlns:a16="http://schemas.microsoft.com/office/drawing/2014/main" id="{809CB710-437D-51DB-4F6D-CBCB37F47363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56" name="Freeform: Shape 1955">
              <a:extLst>
                <a:ext uri="{FF2B5EF4-FFF2-40B4-BE49-F238E27FC236}">
                  <a16:creationId xmlns:a16="http://schemas.microsoft.com/office/drawing/2014/main" id="{D53D869A-1CF2-6FE8-5F5F-0C03F4B51D5F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932" name="Graphic 5">
            <a:extLst>
              <a:ext uri="{FF2B5EF4-FFF2-40B4-BE49-F238E27FC236}">
                <a16:creationId xmlns:a16="http://schemas.microsoft.com/office/drawing/2014/main" id="{7159D63B-5061-EF21-D0FE-DCC3A2A24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747855">
            <a:off x="6425339" y="1658753"/>
            <a:ext cx="2239898" cy="2863531"/>
            <a:chOff x="4061078" y="1549502"/>
            <a:chExt cx="3873961" cy="4952549"/>
          </a:xfrm>
          <a:noFill/>
        </p:grpSpPr>
        <p:sp>
          <p:nvSpPr>
            <p:cNvPr id="1933" name="Freeform: Shape 1932">
              <a:extLst>
                <a:ext uri="{FF2B5EF4-FFF2-40B4-BE49-F238E27FC236}">
                  <a16:creationId xmlns:a16="http://schemas.microsoft.com/office/drawing/2014/main" id="{7111AF4E-AB73-D7D5-09A8-AB3334DD7DEC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4" name="Freeform: Shape 1933">
              <a:extLst>
                <a:ext uri="{FF2B5EF4-FFF2-40B4-BE49-F238E27FC236}">
                  <a16:creationId xmlns:a16="http://schemas.microsoft.com/office/drawing/2014/main" id="{2B2F7A09-018B-3D2C-06E5-F3CB92935D4E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5" name="Freeform: Shape 1934">
              <a:extLst>
                <a:ext uri="{FF2B5EF4-FFF2-40B4-BE49-F238E27FC236}">
                  <a16:creationId xmlns:a16="http://schemas.microsoft.com/office/drawing/2014/main" id="{22EF8AEC-FDDC-AD69-EE17-A6790CE95E6D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6" name="Freeform: Shape 1935">
              <a:extLst>
                <a:ext uri="{FF2B5EF4-FFF2-40B4-BE49-F238E27FC236}">
                  <a16:creationId xmlns:a16="http://schemas.microsoft.com/office/drawing/2014/main" id="{1F42B721-F41E-59E0-6EA0-7038EEC0040E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7" name="Freeform: Shape 1936">
              <a:extLst>
                <a:ext uri="{FF2B5EF4-FFF2-40B4-BE49-F238E27FC236}">
                  <a16:creationId xmlns:a16="http://schemas.microsoft.com/office/drawing/2014/main" id="{A80319E1-F625-172D-CBA8-B5F345AF3A0D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8" name="Freeform: Shape 1937">
              <a:extLst>
                <a:ext uri="{FF2B5EF4-FFF2-40B4-BE49-F238E27FC236}">
                  <a16:creationId xmlns:a16="http://schemas.microsoft.com/office/drawing/2014/main" id="{AB96606C-3243-138B-B209-DDE5672F0058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9" name="Freeform: Shape 1938">
              <a:extLst>
                <a:ext uri="{FF2B5EF4-FFF2-40B4-BE49-F238E27FC236}">
                  <a16:creationId xmlns:a16="http://schemas.microsoft.com/office/drawing/2014/main" id="{03BF45CB-6CE7-2F7F-3086-060DE8638BE7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0" name="Freeform: Shape 1939">
              <a:extLst>
                <a:ext uri="{FF2B5EF4-FFF2-40B4-BE49-F238E27FC236}">
                  <a16:creationId xmlns:a16="http://schemas.microsoft.com/office/drawing/2014/main" id="{6820DD76-A17B-F986-B64F-2C9136C210B5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1" name="Freeform: Shape 1940">
              <a:extLst>
                <a:ext uri="{FF2B5EF4-FFF2-40B4-BE49-F238E27FC236}">
                  <a16:creationId xmlns:a16="http://schemas.microsoft.com/office/drawing/2014/main" id="{D5A2A07F-FCE0-64B8-2B38-F950289C04DD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2" name="Freeform: Shape 1941">
              <a:extLst>
                <a:ext uri="{FF2B5EF4-FFF2-40B4-BE49-F238E27FC236}">
                  <a16:creationId xmlns:a16="http://schemas.microsoft.com/office/drawing/2014/main" id="{0D7E451C-5CE5-B259-881E-92DC1B7FE782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3" name="Freeform: Shape 1942">
              <a:extLst>
                <a:ext uri="{FF2B5EF4-FFF2-40B4-BE49-F238E27FC236}">
                  <a16:creationId xmlns:a16="http://schemas.microsoft.com/office/drawing/2014/main" id="{429AF64A-B0A8-FB17-2F99-7B17549BD38E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44" name="Freeform: Shape 1943">
              <a:extLst>
                <a:ext uri="{FF2B5EF4-FFF2-40B4-BE49-F238E27FC236}">
                  <a16:creationId xmlns:a16="http://schemas.microsoft.com/office/drawing/2014/main" id="{06B0279F-3AE4-5127-99FD-E1919DE3C0E0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300956A-A54C-33B7-F692-8FC7668559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3312599">
            <a:off x="3112439" y="1512080"/>
            <a:ext cx="2935187" cy="2935188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63D7A017-01CA-8BE2-6E1D-4C43AA515D53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24" name="Graphic 1923">
                <a:extLst>
                  <a:ext uri="{FF2B5EF4-FFF2-40B4-BE49-F238E27FC236}">
                    <a16:creationId xmlns:a16="http://schemas.microsoft.com/office/drawing/2014/main" id="{FAEFC6B9-B318-9598-F5D2-980E2F132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25" name="Graphic 1924">
                <a:extLst>
                  <a:ext uri="{FF2B5EF4-FFF2-40B4-BE49-F238E27FC236}">
                    <a16:creationId xmlns:a16="http://schemas.microsoft.com/office/drawing/2014/main" id="{7D9F733C-60E3-DD81-073B-0278A39A8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6170C7D-2691-D890-4B3F-D57192B4DDD5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22" name="Graphic 1921">
                <a:extLst>
                  <a:ext uri="{FF2B5EF4-FFF2-40B4-BE49-F238E27FC236}">
                    <a16:creationId xmlns:a16="http://schemas.microsoft.com/office/drawing/2014/main" id="{2FF3608A-3C67-B3AE-BE91-C0FE755BAD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23" name="Graphic 1922">
                <a:extLst>
                  <a:ext uri="{FF2B5EF4-FFF2-40B4-BE49-F238E27FC236}">
                    <a16:creationId xmlns:a16="http://schemas.microsoft.com/office/drawing/2014/main" id="{D757DCC6-A7E1-D8EB-0074-B8A71C6BA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8086A1DF-C14D-2AF2-F9ED-66A22C215791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20" name="Graphic 1919">
                <a:extLst>
                  <a:ext uri="{FF2B5EF4-FFF2-40B4-BE49-F238E27FC236}">
                    <a16:creationId xmlns:a16="http://schemas.microsoft.com/office/drawing/2014/main" id="{2D190425-76E4-1C44-BFD3-60D98CEA7E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21" name="Graphic 1920">
                <a:extLst>
                  <a:ext uri="{FF2B5EF4-FFF2-40B4-BE49-F238E27FC236}">
                    <a16:creationId xmlns:a16="http://schemas.microsoft.com/office/drawing/2014/main" id="{FEBC0CD2-35DA-BE8D-E1B6-82D87D26B8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2" name="Graphic 5">
            <a:extLst>
              <a:ext uri="{FF2B5EF4-FFF2-40B4-BE49-F238E27FC236}">
                <a16:creationId xmlns:a16="http://schemas.microsoft.com/office/drawing/2014/main" id="{0FFB06CF-6653-6E7A-7F4F-A5AF27BA7B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8541727">
            <a:off x="3608465" y="1818813"/>
            <a:ext cx="2039458" cy="2103885"/>
            <a:chOff x="4071312" y="2489702"/>
            <a:chExt cx="3527294" cy="3638722"/>
          </a:xfrm>
          <a:noFill/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F2766536-9DA3-7810-B8E4-0815C833141A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F5D8163-0A23-6218-79F8-4F2D318C3BD4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5BBD779-DBC3-1956-4C30-C4CD8F4E3740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74F9C09-3E44-3902-0834-1776E6CE0012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BE4978-E1D0-3929-0B95-0F28C84EA041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585F7F-82AF-2CC5-2AEE-E78EAD92D538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0A8F995-94F1-89C0-5B8A-F8A433A52580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5EC0944-60A8-AAF7-59AA-DB477F438C2F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106C2F-26D5-614F-667F-875DEC61AFA2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0C15109-A2C7-9397-FD03-AF854CF8153E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4D0A2A6-5396-0DAC-2F54-4FE3A223B768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38F8655-122E-4D6E-25BC-C7138EC0AE0D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20" name="Graphic 5">
            <a:extLst>
              <a:ext uri="{FF2B5EF4-FFF2-40B4-BE49-F238E27FC236}">
                <a16:creationId xmlns:a16="http://schemas.microsoft.com/office/drawing/2014/main" id="{637807ED-E247-F73A-149A-3EE3AF9F72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6012618">
            <a:off x="3327374" y="1765626"/>
            <a:ext cx="2476400" cy="2415487"/>
            <a:chOff x="4270587" y="2574268"/>
            <a:chExt cx="3544376" cy="3457192"/>
          </a:xfrm>
          <a:noFill/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53846D2-B417-0A6F-9137-BF07CF4A0836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2CD7545-29D5-CC87-7967-1E02D3146F18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2D3F249-C7D3-E13F-3161-682F9E123B96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B3B57DB-5A49-CDA5-43C6-0B6DFA9D3F6E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7DA759C-1313-1685-7F46-06A097D3BE04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7E3E406-C8F6-D259-0321-A5ABE860768E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52E447F-E19F-E343-92B9-4110481943E7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91469F7-C0FF-5B6F-58DD-2B48A0F19CB4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24E0C58-2F3B-DA93-0D95-3B2456021066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B1C4890-D8D1-F1A3-2C01-22CFF08CF8B1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EBD850E-C763-D8B3-104B-E376B6098756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577C963-C08B-954B-EABD-98BC59706A4C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33" name="Graphic 5">
            <a:extLst>
              <a:ext uri="{FF2B5EF4-FFF2-40B4-BE49-F238E27FC236}">
                <a16:creationId xmlns:a16="http://schemas.microsoft.com/office/drawing/2014/main" id="{C29F1BE6-68BD-6F77-33F0-E96EEF88C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7831519">
            <a:off x="2880209" y="1914484"/>
            <a:ext cx="3322111" cy="2161676"/>
            <a:chOff x="3224705" y="2448010"/>
            <a:chExt cx="5745675" cy="3738674"/>
          </a:xfrm>
          <a:noFill/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5DB6015-5B0F-30D1-5948-1FF39DDE7A5C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AA5D8D3-8390-2850-AE83-F87805925EDB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BD6E9D9-4A41-6B45-2BB0-D89E22806714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13C0B32-A386-1534-4F1D-DF7434E11D18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8772F2C-4191-1C65-7A20-B2C2D8F4FA11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3D8698F-8730-4AEB-93CC-0B251EE316FE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BB8F71-7A97-C598-F1ED-48781FB7A836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4A7CFCC2-2F82-9F17-AD08-50D3AAC9B200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AC92EA0-F48C-47EE-3392-059A1813F6E5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37F22DE-90BC-EA90-20B9-B92CFFCDD5B7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6ED37B5-2298-0BC9-0380-C96C9789F447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B07F798-CBBA-DBC6-B443-F3225922F35D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6" name="Graphic 5">
            <a:extLst>
              <a:ext uri="{FF2B5EF4-FFF2-40B4-BE49-F238E27FC236}">
                <a16:creationId xmlns:a16="http://schemas.microsoft.com/office/drawing/2014/main" id="{A3C6859C-823E-7640-F739-6D3C93D87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759180">
            <a:off x="3593952" y="1607442"/>
            <a:ext cx="2239898" cy="2863531"/>
            <a:chOff x="4061078" y="1549502"/>
            <a:chExt cx="3873961" cy="4952549"/>
          </a:xfrm>
          <a:noFill/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2529956-4EA5-F360-0B3A-1762ABC1232A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1D2B5C-E354-0B7E-7259-1FF5E0CECAAD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13A2D8C-F878-82B9-F5B4-E652E31C8981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2ACBE85-184D-792B-E992-C4B90D516947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D4BE43A-3570-CFE7-FF0E-0E711C0E3EBA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D1F86A-D0F0-5E66-BD3D-B88967A5ED49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73BDF86-DE79-79D9-6312-ACBE3E17DE3F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2A6ACD1-0FCF-ADEF-DDF8-073D679BBA85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ECEEA20-27EE-9399-1C9B-8599BA419CDE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D65220E-6FE1-8EDB-4E74-32EB7B21BBEB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934EB75-5727-FC97-D590-F198B4BC8023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46E8267-BD96-3562-4246-33DE04AFB1BB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1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A8A710AA-48FA-3CF2-AD5B-06FD79B39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397423"/>
            <a:ext cx="11017250" cy="923330"/>
          </a:xfrm>
        </p:spPr>
        <p:txBody>
          <a:bodyPr/>
          <a:lstStyle/>
          <a:p>
            <a:pPr algn="ctr"/>
            <a:r>
              <a:rPr lang="en-US" sz="3000">
                <a:solidFill>
                  <a:schemeClr val="tx1">
                    <a:lumMod val="75000"/>
                    <a:lumOff val="25000"/>
                  </a:schemeClr>
                </a:solidFill>
              </a:rPr>
              <a:t>Generative AI is the greatest </a:t>
            </a: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force multiplier</a:t>
            </a:r>
            <a:br>
              <a:rPr lang="en-US" sz="30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3000">
                <a:solidFill>
                  <a:schemeClr val="tx1">
                    <a:lumMod val="75000"/>
                    <a:lumOff val="25000"/>
                  </a:schemeClr>
                </a:solidFill>
              </a:rPr>
              <a:t>we’ve ever had at our fingertips</a:t>
            </a:r>
          </a:p>
        </p:txBody>
      </p:sp>
      <p:sp>
        <p:nvSpPr>
          <p:cNvPr id="1981" name="Rectangle 1980">
            <a:extLst>
              <a:ext uri="{FF2B5EF4-FFF2-40B4-BE49-F238E27FC236}">
                <a16:creationId xmlns:a16="http://schemas.microsoft.com/office/drawing/2014/main" id="{93C2EA5C-0A75-AB79-43B9-983F65580B37}"/>
              </a:ext>
            </a:extLst>
          </p:cNvPr>
          <p:cNvSpPr/>
          <p:nvPr/>
        </p:nvSpPr>
        <p:spPr>
          <a:xfrm>
            <a:off x="3932353" y="2665518"/>
            <a:ext cx="1295358" cy="67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 automation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efficiencies</a:t>
            </a:r>
          </a:p>
        </p:txBody>
      </p:sp>
      <p:sp>
        <p:nvSpPr>
          <p:cNvPr id="1983" name="Rectangle 1982">
            <a:extLst>
              <a:ext uri="{FF2B5EF4-FFF2-40B4-BE49-F238E27FC236}">
                <a16:creationId xmlns:a16="http://schemas.microsoft.com/office/drawing/2014/main" id="{1603ECE9-84E3-13F5-542F-29FB7BFD6830}"/>
              </a:ext>
            </a:extLst>
          </p:cNvPr>
          <p:cNvSpPr/>
          <p:nvPr/>
        </p:nvSpPr>
        <p:spPr>
          <a:xfrm>
            <a:off x="6962186" y="2665518"/>
            <a:ext cx="1597348" cy="67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customer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engagements</a:t>
            </a:r>
          </a:p>
        </p:txBody>
      </p:sp>
      <p:sp>
        <p:nvSpPr>
          <p:cNvPr id="1982" name="Rectangle 1981">
            <a:extLst>
              <a:ext uri="{FF2B5EF4-FFF2-40B4-BE49-F238E27FC236}">
                <a16:creationId xmlns:a16="http://schemas.microsoft.com/office/drawing/2014/main" id="{1E15C3EB-4706-C252-D439-F5AD0EF83661}"/>
              </a:ext>
            </a:extLst>
          </p:cNvPr>
          <p:cNvSpPr/>
          <p:nvPr/>
        </p:nvSpPr>
        <p:spPr>
          <a:xfrm>
            <a:off x="3600216" y="5121108"/>
            <a:ext cx="1627495" cy="67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personal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productivity</a:t>
            </a:r>
          </a:p>
        </p:txBody>
      </p:sp>
      <p:sp>
        <p:nvSpPr>
          <p:cNvPr id="1984" name="Rectangle 1983">
            <a:extLst>
              <a:ext uri="{FF2B5EF4-FFF2-40B4-BE49-F238E27FC236}">
                <a16:creationId xmlns:a16="http://schemas.microsoft.com/office/drawing/2014/main" id="{E47A8EA7-5716-5AFF-46FD-9CEC2BF4B4AC}"/>
              </a:ext>
            </a:extLst>
          </p:cNvPr>
          <p:cNvSpPr/>
          <p:nvPr/>
        </p:nvSpPr>
        <p:spPr>
          <a:xfrm>
            <a:off x="6962186" y="5121108"/>
            <a:ext cx="1456290" cy="67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product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&amp; service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22A4534-B336-457D-89FB-9376F620B922}"/>
              </a:ext>
            </a:extLst>
          </p:cNvPr>
          <p:cNvSpPr/>
          <p:nvPr/>
        </p:nvSpPr>
        <p:spPr bwMode="auto">
          <a:xfrm>
            <a:off x="5019441" y="3187677"/>
            <a:ext cx="2153118" cy="2153118"/>
          </a:xfrm>
          <a:prstGeom prst="ellipse">
            <a:avLst/>
          </a:prstGeom>
          <a:solidFill>
            <a:schemeClr val="bg1"/>
          </a:solidFill>
          <a:ln w="19050" cap="flat">
            <a:gradFill>
              <a:gsLst>
                <a:gs pos="25000">
                  <a:srgbClr val="D44690"/>
                </a:gs>
                <a:gs pos="0">
                  <a:srgbClr val="FEA38B"/>
                </a:gs>
                <a:gs pos="50000">
                  <a:schemeClr val="tx2"/>
                </a:gs>
                <a:gs pos="75000">
                  <a:schemeClr val="accent3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/>
          </a:ln>
          <a:effectLst>
            <a:outerShdw blurRad="50800" dist="38100" dir="54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Gen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211106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7" name="Oval 1916">
            <a:extLst>
              <a:ext uri="{FF2B5EF4-FFF2-40B4-BE49-F238E27FC236}">
                <a16:creationId xmlns:a16="http://schemas.microsoft.com/office/drawing/2014/main" id="{D587D4B3-CF2C-32CE-5D23-9B956A7B16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4022" y="1080496"/>
            <a:ext cx="1508760" cy="1508760"/>
          </a:xfrm>
          <a:prstGeom prst="ellipse">
            <a:avLst/>
          </a:prstGeom>
          <a:noFill/>
          <a:ln w="19050">
            <a:noFill/>
          </a:ln>
          <a:effectLst>
            <a:outerShdw blurRad="50800" dist="381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19" name="Title 418">
            <a:extLst>
              <a:ext uri="{FF2B5EF4-FFF2-40B4-BE49-F238E27FC236}">
                <a16:creationId xmlns:a16="http://schemas.microsoft.com/office/drawing/2014/main" id="{51536369-4E60-D511-A873-CC75A9DB5D6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297648" y="1848606"/>
            <a:ext cx="3865311" cy="33239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spc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latin typeface="Segoe Sans Text Semibold"/>
                <a:cs typeface="Segoe UI Semibold" panose="020B0702040204020203" pitchFamily="34" charset="0"/>
              </a:rPr>
              <a:t>60</a:t>
            </a: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,000+</a:t>
            </a: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organiz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re innovating 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nd scaling with t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zure AI platform</a:t>
            </a: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54719C79-7D06-562C-3163-2E31A2FC5999}"/>
              </a:ext>
            </a:extLst>
          </p:cNvPr>
          <p:cNvSpPr/>
          <p:nvPr/>
        </p:nvSpPr>
        <p:spPr>
          <a:xfrm>
            <a:off x="293329" y="1433870"/>
            <a:ext cx="1583590" cy="757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automation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efficiencies 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5DB3B0B9-9C5E-DA02-68FA-E762892DD58B}"/>
              </a:ext>
            </a:extLst>
          </p:cNvPr>
          <p:cNvSpPr/>
          <p:nvPr/>
        </p:nvSpPr>
        <p:spPr>
          <a:xfrm>
            <a:off x="2268360" y="348471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Rockwell Automation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D9C60F5D-79DE-7059-3CF6-B6FF967E9CBD}"/>
              </a:ext>
            </a:extLst>
          </p:cNvPr>
          <p:cNvSpPr/>
          <p:nvPr/>
        </p:nvSpPr>
        <p:spPr>
          <a:xfrm>
            <a:off x="2819350" y="1598989"/>
            <a:ext cx="73729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Volvo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68817D60-790E-7561-91D7-6C12A7D1B6BB}"/>
              </a:ext>
            </a:extLst>
          </p:cNvPr>
          <p:cNvSpPr/>
          <p:nvPr/>
        </p:nvSpPr>
        <p:spPr>
          <a:xfrm>
            <a:off x="2867545" y="973730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Bosch</a:t>
            </a: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4021CBC6-901D-BF1C-2387-7FE99049775C}"/>
              </a:ext>
            </a:extLst>
          </p:cNvPr>
          <p:cNvSpPr/>
          <p:nvPr/>
        </p:nvSpPr>
        <p:spPr>
          <a:xfrm>
            <a:off x="293329" y="4795989"/>
            <a:ext cx="1583590" cy="757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personal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productivity </a:t>
            </a: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89C4857C-F87A-2142-875D-A20F7B40B55C}"/>
              </a:ext>
            </a:extLst>
          </p:cNvPr>
          <p:cNvSpPr/>
          <p:nvPr/>
        </p:nvSpPr>
        <p:spPr>
          <a:xfrm>
            <a:off x="2819350" y="5144873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Heineken</a:t>
            </a: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F5F92E66-6C46-D1D1-7F47-C8D6D865759D}"/>
              </a:ext>
            </a:extLst>
          </p:cNvPr>
          <p:cNvSpPr/>
          <p:nvPr/>
        </p:nvSpPr>
        <p:spPr>
          <a:xfrm>
            <a:off x="2725163" y="5778616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KPMG</a:t>
            </a: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6BB46DD8-F9B7-996F-591F-D9B4BC72A6B0}"/>
              </a:ext>
            </a:extLst>
          </p:cNvPr>
          <p:cNvSpPr/>
          <p:nvPr/>
        </p:nvSpPr>
        <p:spPr>
          <a:xfrm>
            <a:off x="2276483" y="6350071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PricewaterhouseCoopers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C23AB308-A9A1-AAB2-86F2-7A832E8D20BA}"/>
              </a:ext>
            </a:extLst>
          </p:cNvPr>
          <p:cNvSpPr/>
          <p:nvPr/>
        </p:nvSpPr>
        <p:spPr>
          <a:xfrm>
            <a:off x="10626828" y="1371407"/>
            <a:ext cx="1802997" cy="757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custom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engagement 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07B1618D-72F8-45CD-74F2-CCE2F40AFBDD}"/>
              </a:ext>
            </a:extLst>
          </p:cNvPr>
          <p:cNvSpPr/>
          <p:nvPr/>
        </p:nvSpPr>
        <p:spPr>
          <a:xfrm>
            <a:off x="8809181" y="312597"/>
            <a:ext cx="981337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H&amp;R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Block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1F2B66A6-90A9-1218-0C23-21353A94777C}"/>
              </a:ext>
            </a:extLst>
          </p:cNvPr>
          <p:cNvSpPr/>
          <p:nvPr/>
        </p:nvSpPr>
        <p:spPr>
          <a:xfrm>
            <a:off x="8611622" y="1046303"/>
            <a:ext cx="98133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BA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77CF77FB-900A-AB5D-B661-C8D780366D23}"/>
              </a:ext>
            </a:extLst>
          </p:cNvPr>
          <p:cNvSpPr/>
          <p:nvPr/>
        </p:nvSpPr>
        <p:spPr>
          <a:xfrm>
            <a:off x="8661066" y="1635445"/>
            <a:ext cx="98133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ASOS</a:t>
            </a: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6DA0D6AC-80AF-EE3E-3BB3-A9559FFE5F4E}"/>
              </a:ext>
            </a:extLst>
          </p:cNvPr>
          <p:cNvSpPr/>
          <p:nvPr/>
        </p:nvSpPr>
        <p:spPr>
          <a:xfrm>
            <a:off x="8774178" y="2224587"/>
            <a:ext cx="98133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CarMax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3CA45FAB-58DD-B1EB-4E6B-B90E6B082DBA}"/>
              </a:ext>
            </a:extLst>
          </p:cNvPr>
          <p:cNvSpPr/>
          <p:nvPr/>
        </p:nvSpPr>
        <p:spPr>
          <a:xfrm>
            <a:off x="9148337" y="2813730"/>
            <a:ext cx="98133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H&amp;M</a:t>
            </a:r>
          </a:p>
        </p:txBody>
      </p:sp>
      <p:sp>
        <p:nvSpPr>
          <p:cNvPr id="418" name="Rectangle 417">
            <a:extLst>
              <a:ext uri="{FF2B5EF4-FFF2-40B4-BE49-F238E27FC236}">
                <a16:creationId xmlns:a16="http://schemas.microsoft.com/office/drawing/2014/main" id="{DA9B5147-42EE-2E44-7727-CC97FBAE81C4}"/>
              </a:ext>
            </a:extLst>
          </p:cNvPr>
          <p:cNvSpPr/>
          <p:nvPr/>
        </p:nvSpPr>
        <p:spPr>
          <a:xfrm>
            <a:off x="10626828" y="4686667"/>
            <a:ext cx="1802997" cy="757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New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product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&amp; services </a:t>
            </a: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BE1C2D2-1D77-4C3A-3290-EBFD8DAD3CCF}"/>
              </a:ext>
            </a:extLst>
          </p:cNvPr>
          <p:cNvSpPr/>
          <p:nvPr/>
        </p:nvSpPr>
        <p:spPr>
          <a:xfrm>
            <a:off x="8264032" y="3805153"/>
            <a:ext cx="166873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Honeywell</a:t>
            </a: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FDC84221-5FDF-8964-0AB6-4F586EDDC7D2}"/>
              </a:ext>
            </a:extLst>
          </p:cNvPr>
          <p:cNvSpPr/>
          <p:nvPr/>
        </p:nvSpPr>
        <p:spPr>
          <a:xfrm>
            <a:off x="7862857" y="5144873"/>
            <a:ext cx="166873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Unilever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6E854534-7D1F-6863-8EE7-06E1D16FDEB4}"/>
              </a:ext>
            </a:extLst>
          </p:cNvPr>
          <p:cNvSpPr/>
          <p:nvPr/>
        </p:nvSpPr>
        <p:spPr>
          <a:xfrm>
            <a:off x="8238744" y="4447311"/>
            <a:ext cx="1166514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Mercedes-Benz</a:t>
            </a: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B9D6434A-C980-6892-0A73-097DAFEEBAB8}"/>
              </a:ext>
            </a:extLst>
          </p:cNvPr>
          <p:cNvSpPr/>
          <p:nvPr/>
        </p:nvSpPr>
        <p:spPr>
          <a:xfrm>
            <a:off x="8070654" y="5797262"/>
            <a:ext cx="166873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Tom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To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Sans Tex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BBEDE963-3809-A381-9A15-BC5EB0875DFA}"/>
              </a:ext>
            </a:extLst>
          </p:cNvPr>
          <p:cNvSpPr/>
          <p:nvPr/>
        </p:nvSpPr>
        <p:spPr>
          <a:xfrm>
            <a:off x="8470713" y="6328190"/>
            <a:ext cx="166873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Coca-Col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62DF051-1137-2640-FA20-5AEB91FC6A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2757130">
            <a:off x="-577619" y="3328149"/>
            <a:ext cx="3581312" cy="3581312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E93BAE8-B9C4-6768-012F-8E90E1065872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456" name="Graphic 455">
                <a:extLst>
                  <a:ext uri="{FF2B5EF4-FFF2-40B4-BE49-F238E27FC236}">
                    <a16:creationId xmlns:a16="http://schemas.microsoft.com/office/drawing/2014/main" id="{B68D79BD-51F1-BA8F-DA36-D19DA2D7F2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457" name="Graphic 456">
                <a:extLst>
                  <a:ext uri="{FF2B5EF4-FFF2-40B4-BE49-F238E27FC236}">
                    <a16:creationId xmlns:a16="http://schemas.microsoft.com/office/drawing/2014/main" id="{F3D9624D-6DD3-9E67-46CF-0B151726D9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A5282AC-2AC4-380B-6223-6877768CBD16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454" name="Graphic 453">
                <a:extLst>
                  <a:ext uri="{FF2B5EF4-FFF2-40B4-BE49-F238E27FC236}">
                    <a16:creationId xmlns:a16="http://schemas.microsoft.com/office/drawing/2014/main" id="{49810806-6D44-DB73-87F4-820CA569B6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455" name="Graphic 454">
                <a:extLst>
                  <a:ext uri="{FF2B5EF4-FFF2-40B4-BE49-F238E27FC236}">
                    <a16:creationId xmlns:a16="http://schemas.microsoft.com/office/drawing/2014/main" id="{F40D630F-9BC7-C311-AD04-ABCEEDC954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EE158CFE-52F6-6678-92DF-5A2B1F80C128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63" name="Graphic 62">
                <a:extLst>
                  <a:ext uri="{FF2B5EF4-FFF2-40B4-BE49-F238E27FC236}">
                    <a16:creationId xmlns:a16="http://schemas.microsoft.com/office/drawing/2014/main" id="{E3B8405B-002A-F2A9-C46B-163CE33A2F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448" name="Graphic 447">
                <a:extLst>
                  <a:ext uri="{FF2B5EF4-FFF2-40B4-BE49-F238E27FC236}">
                    <a16:creationId xmlns:a16="http://schemas.microsoft.com/office/drawing/2014/main" id="{72E66482-8654-5066-FF9F-28812C68AC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6" name="Graphic 5">
            <a:extLst>
              <a:ext uri="{FF2B5EF4-FFF2-40B4-BE49-F238E27FC236}">
                <a16:creationId xmlns:a16="http://schemas.microsoft.com/office/drawing/2014/main" id="{D2E8828C-6C66-2534-AE92-11C03DE1D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4539962">
            <a:off x="-34367" y="3980570"/>
            <a:ext cx="2488405" cy="2567015"/>
            <a:chOff x="4071312" y="2489702"/>
            <a:chExt cx="3527294" cy="3638722"/>
          </a:xfrm>
          <a:noFill/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8D457-AD57-63B5-AC6F-591BDE5C8EB0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B8814B4-7DE2-24F3-CF20-3E169AE9C72A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5CBDA5C-ED5C-B94B-40B1-D167E38B6B78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A5D661A-20FB-F448-B96D-53F8D4F39E9E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A1DF815-E9D4-D2F7-FD6E-C166B1B9F0FB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38718-8BD0-6623-994B-5C599064F0BD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5E54954-613E-3BC7-B61E-C0BCAFFFA100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1FB86F4-E43A-4F9B-A521-90F4B2DA1D1A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7596EC39-E893-75C0-9F27-F56434C90E09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A97DC34-74BA-D4AA-6F65-9A87922874BA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C6CFFF4-CC37-5DB5-4999-BDFAE6689D59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B13A5BD-2E24-80F7-942E-65261AC01BE2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8" name="Graphic 5">
            <a:extLst>
              <a:ext uri="{FF2B5EF4-FFF2-40B4-BE49-F238E27FC236}">
                <a16:creationId xmlns:a16="http://schemas.microsoft.com/office/drawing/2014/main" id="{68B5A0E5-F64E-7E84-DE47-AC1325B770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0574432">
            <a:off x="-278485" y="3645526"/>
            <a:ext cx="3021532" cy="2947209"/>
            <a:chOff x="4270587" y="2574268"/>
            <a:chExt cx="3544376" cy="3457192"/>
          </a:xfrm>
          <a:noFill/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D3870D4-A3AE-1388-FEE0-CCEDA647D11B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CDA15A7-CCFF-B8C2-4FE8-664F801EBC80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3E31B15-2A78-FDAD-FBBF-40B9FD3199FD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014D2D9-5828-03AB-23EC-7C0D1E32B6D9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F69DFD4-E025-CF54-54F6-5B984DAA0E97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330EA8D-91F3-39E9-6A61-04AEA31682AA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5C77CBA-8B4A-4501-6DCE-E2A341AB5432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94A2FFC-1D58-1971-A4AE-4BAE2D646366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04CE8E8-426D-E855-255E-B0223EA3590F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B8E2ACC-40BF-A35E-8466-8A7D66A07F16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912EC50-B2AB-72B4-AAC1-F3CBCC90DCF7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D6C03EF-5D60-1C07-A223-B111BEEDC031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0" name="Graphic 5">
            <a:extLst>
              <a:ext uri="{FF2B5EF4-FFF2-40B4-BE49-F238E27FC236}">
                <a16:creationId xmlns:a16="http://schemas.microsoft.com/office/drawing/2014/main" id="{3EBE3A97-12DB-3983-A6F4-86FFACE9D3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9537152">
            <a:off x="-777330" y="3764244"/>
            <a:ext cx="4053410" cy="2637527"/>
            <a:chOff x="3224705" y="2448010"/>
            <a:chExt cx="5745675" cy="3738674"/>
          </a:xfrm>
          <a:noFill/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02B6294-CB6C-E86C-B81E-0CC98469E320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BF68EF4-0CDE-F367-965F-74228CBC461E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AD4A196-F1C0-0895-EB83-AE7231B55C19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102CAC2-CDD7-2735-C964-ECB9F87D0329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C329D39-38F6-67C0-6393-869889790E5E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1B533E-C737-6AF2-B489-33CA819F2629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32CC705-BAC0-731C-E98A-A94667D16AF6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F31DBAF-E551-0626-8201-10B92658A608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E79A89-0A44-669F-DA6B-FC027DE7D859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8FD7D8B-49D0-4FE7-2DD9-E91CEF4AE79B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B5B101B-C227-F408-CC97-44CA37A74A5D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D3473CD-CBB3-362C-A13B-CDB86EE5CD99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1" name="Graphic 5">
            <a:extLst>
              <a:ext uri="{FF2B5EF4-FFF2-40B4-BE49-F238E27FC236}">
                <a16:creationId xmlns:a16="http://schemas.microsoft.com/office/drawing/2014/main" id="{44ED1371-C213-558A-1E53-FD6800E6F8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147855">
            <a:off x="-332154" y="3367545"/>
            <a:ext cx="2732969" cy="3493881"/>
            <a:chOff x="4061078" y="1549502"/>
            <a:chExt cx="3873961" cy="4952549"/>
          </a:xfrm>
          <a:noFill/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90A060-1051-8B1C-7184-6E9C8EA74D24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8423480-C4BF-7920-0C12-F1C60BB58FC3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7A21C1F-C1C9-9228-D83F-8B064A1E0B90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908D9F3-9451-BDA2-635A-0658DA1E66E5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525096-8943-EB86-E7E7-F8456C37B7F4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1C89B9-77B7-DE5C-9A29-F0A31D66A1F1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2F2623F-B8A6-507D-00A6-78905D3E6BC3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FEFADC-FE9F-81E7-30D7-9F4ED9D7FCF6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BA36982-CEA5-D992-3C59-F8F4882DD24A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256B641-1B02-AA28-B623-C4D0E35074F2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84ACE74-6E1E-A2C1-66A1-E768301A9FB9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6396BC7-D832-162D-EA73-554DD0C98A88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82674B1C-A7C8-B36D-3125-D258582B1D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313653">
            <a:off x="9713479" y="3500947"/>
            <a:ext cx="3236500" cy="3236500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1861" name="Group 1860">
              <a:extLst>
                <a:ext uri="{FF2B5EF4-FFF2-40B4-BE49-F238E27FC236}">
                  <a16:creationId xmlns:a16="http://schemas.microsoft.com/office/drawing/2014/main" id="{D9400A2D-4427-BB40-35ED-D40F116E0CA7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868" name="Graphic 1867">
                <a:extLst>
                  <a:ext uri="{FF2B5EF4-FFF2-40B4-BE49-F238E27FC236}">
                    <a16:creationId xmlns:a16="http://schemas.microsoft.com/office/drawing/2014/main" id="{19AF58FD-450B-529A-BFDE-3601FC49BC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869" name="Graphic 1868">
                <a:extLst>
                  <a:ext uri="{FF2B5EF4-FFF2-40B4-BE49-F238E27FC236}">
                    <a16:creationId xmlns:a16="http://schemas.microsoft.com/office/drawing/2014/main" id="{713D96FC-9A70-99E9-D090-69F134E7CD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862" name="Group 1861">
              <a:extLst>
                <a:ext uri="{FF2B5EF4-FFF2-40B4-BE49-F238E27FC236}">
                  <a16:creationId xmlns:a16="http://schemas.microsoft.com/office/drawing/2014/main" id="{6C3B7793-D93C-DD74-EAC3-32963C1143AB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866" name="Graphic 1865">
                <a:extLst>
                  <a:ext uri="{FF2B5EF4-FFF2-40B4-BE49-F238E27FC236}">
                    <a16:creationId xmlns:a16="http://schemas.microsoft.com/office/drawing/2014/main" id="{5581E059-6157-D7AB-0759-F98CA50735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867" name="Graphic 1866">
                <a:extLst>
                  <a:ext uri="{FF2B5EF4-FFF2-40B4-BE49-F238E27FC236}">
                    <a16:creationId xmlns:a16="http://schemas.microsoft.com/office/drawing/2014/main" id="{9F1C0346-1C1E-CD54-0C52-1D5DED448E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863" name="Group 1862">
              <a:extLst>
                <a:ext uri="{FF2B5EF4-FFF2-40B4-BE49-F238E27FC236}">
                  <a16:creationId xmlns:a16="http://schemas.microsoft.com/office/drawing/2014/main" id="{409DE122-515B-E077-9ABD-063D410E2365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864" name="Graphic 1863">
                <a:extLst>
                  <a:ext uri="{FF2B5EF4-FFF2-40B4-BE49-F238E27FC236}">
                    <a16:creationId xmlns:a16="http://schemas.microsoft.com/office/drawing/2014/main" id="{AB98284D-4569-3696-D07A-E7C27F2A1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865" name="Graphic 1864">
                <a:extLst>
                  <a:ext uri="{FF2B5EF4-FFF2-40B4-BE49-F238E27FC236}">
                    <a16:creationId xmlns:a16="http://schemas.microsoft.com/office/drawing/2014/main" id="{ADF59B3B-A11C-CD9A-D261-761CED1569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465" name="Graphic 5">
            <a:extLst>
              <a:ext uri="{FF2B5EF4-FFF2-40B4-BE49-F238E27FC236}">
                <a16:creationId xmlns:a16="http://schemas.microsoft.com/office/drawing/2014/main" id="{FF7C61B5-5BEF-63E3-3D94-77D7E464BD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7096485">
            <a:off x="10116312" y="4053933"/>
            <a:ext cx="2248819" cy="2319860"/>
            <a:chOff x="4071312" y="2489702"/>
            <a:chExt cx="3527294" cy="3638722"/>
          </a:xfrm>
          <a:noFill/>
        </p:grpSpPr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56C5D471-8A23-ECD4-D832-9AFF8C767592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1D1C6EFB-6FC1-7D62-C680-8FDE5F1952A8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C1117B63-4C2F-4B05-B817-5823815590FB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2A659006-EA3F-3E0E-B205-61C8238E67C0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AF197172-21CB-3497-B225-696BD85C8E87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7667FA8A-B4BC-2A28-7C29-0437D6A12848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BA45DA16-B94C-77AC-A440-65148D127045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56" name="Freeform: Shape 1855">
              <a:extLst>
                <a:ext uri="{FF2B5EF4-FFF2-40B4-BE49-F238E27FC236}">
                  <a16:creationId xmlns:a16="http://schemas.microsoft.com/office/drawing/2014/main" id="{1976C290-7516-9D6C-6797-E80AC71E1059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57" name="Freeform: Shape 1856">
              <a:extLst>
                <a:ext uri="{FF2B5EF4-FFF2-40B4-BE49-F238E27FC236}">
                  <a16:creationId xmlns:a16="http://schemas.microsoft.com/office/drawing/2014/main" id="{AF637E94-EB81-8D8A-0F3E-E57E0F7F3B53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58" name="Freeform: Shape 1857">
              <a:extLst>
                <a:ext uri="{FF2B5EF4-FFF2-40B4-BE49-F238E27FC236}">
                  <a16:creationId xmlns:a16="http://schemas.microsoft.com/office/drawing/2014/main" id="{EA78CF6D-13F7-A670-5925-D238D311F7BF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59" name="Freeform: Shape 1858">
              <a:extLst>
                <a:ext uri="{FF2B5EF4-FFF2-40B4-BE49-F238E27FC236}">
                  <a16:creationId xmlns:a16="http://schemas.microsoft.com/office/drawing/2014/main" id="{78C9C0F4-B103-1F2E-E0D5-30E55D0B4A50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60" name="Freeform: Shape 1859">
              <a:extLst>
                <a:ext uri="{FF2B5EF4-FFF2-40B4-BE49-F238E27FC236}">
                  <a16:creationId xmlns:a16="http://schemas.microsoft.com/office/drawing/2014/main" id="{F4807A32-E312-1D2E-5A36-531537107B74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66" name="Graphic 5">
            <a:extLst>
              <a:ext uri="{FF2B5EF4-FFF2-40B4-BE49-F238E27FC236}">
                <a16:creationId xmlns:a16="http://schemas.microsoft.com/office/drawing/2014/main" id="{817DE8DD-D45A-0834-4BE3-7623970B6F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30955">
            <a:off x="9979022" y="3799462"/>
            <a:ext cx="2730616" cy="2663449"/>
            <a:chOff x="4270587" y="2574268"/>
            <a:chExt cx="3544376" cy="3457192"/>
          </a:xfrm>
          <a:noFill/>
        </p:grpSpPr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F9E671D7-FE7B-89C7-795E-A3C30126A7A2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383E10AD-54D0-4B5D-5D89-7C0CF7E75DFE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E3B3675C-9FC0-A826-FCE1-B4BF1BBC9DF7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F77B5857-5268-2D1D-3951-BC09CF1A0ADF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808F1296-CAB3-8DD9-3665-7F2DC3AE2EB2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931FE257-5527-6869-1105-032B367254FB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E265F27B-7D74-E5B2-27B1-4F9C6A6C17AA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410C8F47-412C-5ECE-B181-0CB7823FCBEA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2CD624CC-DF05-F922-6E82-843072EBDE4B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ABC9732F-7C51-A5C3-4CB2-12AD2185AC19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81A109A0-EFB5-9053-A43A-06C23C3FE21B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B015933B-215E-131B-BF6E-8D9588332DF3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67" name="Graphic 5">
            <a:extLst>
              <a:ext uri="{FF2B5EF4-FFF2-40B4-BE49-F238E27FC236}">
                <a16:creationId xmlns:a16="http://schemas.microsoft.com/office/drawing/2014/main" id="{0BABA831-CCEB-8574-F7AA-6DD3E388F6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493675">
            <a:off x="9546229" y="3925827"/>
            <a:ext cx="3663144" cy="2383583"/>
            <a:chOff x="3224705" y="2448010"/>
            <a:chExt cx="5745675" cy="3738674"/>
          </a:xfrm>
          <a:noFill/>
        </p:grpSpPr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BAE66BDF-77EF-261D-E37D-934A31361997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6F13E982-F8ED-E18A-B7E5-3F8055AD33A2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DEF168F5-E17D-EF8A-C002-68113604CE4D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9286ECE8-D46B-075F-86FD-CE86CD09CE8C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9B95629A-80EB-839A-3229-7E0FC05F6AA0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8EAE7F7E-3511-C0CB-CA8F-F72ADC613703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3FAF30DB-732A-801F-F287-0D08975ED583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9243AD2E-1998-3247-DAD9-52CB427DCF22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75BBCC2A-A184-6908-1D35-7B012143FE66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35CE8442-74DB-3394-948C-1A3058303ED0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7B91D05F-2D26-5B8F-6781-43AE1562268D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6114613A-6CB9-988B-EAF6-B0419C7EA4B8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68" name="Graphic 5">
            <a:extLst>
              <a:ext uri="{FF2B5EF4-FFF2-40B4-BE49-F238E27FC236}">
                <a16:creationId xmlns:a16="http://schemas.microsoft.com/office/drawing/2014/main" id="{861461E2-6124-5286-7A77-B7A7BD511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04378">
            <a:off x="9980589" y="3428246"/>
            <a:ext cx="2469836" cy="3157487"/>
            <a:chOff x="4061078" y="1549502"/>
            <a:chExt cx="3873961" cy="4952549"/>
          </a:xfrm>
          <a:noFill/>
        </p:grpSpPr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9E433E2E-B64F-BB48-4FE9-4FD8BC7887E9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A8654967-A51B-AAA1-C95D-4D0AE56384E1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E98EF8B2-518C-B84B-4788-4C0E5D618281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C7C049F8-4309-122F-5A37-0432AB568565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D8B95A6C-3BE7-FC99-ABD7-F8FC9C73B44F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4430D6CB-C797-7CE0-D7C3-75FCD3D47B07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1E412652-C7AB-D9C7-BB8D-DC5F995500C0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C5B64389-74EB-6000-3289-875BAF001463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FFBF6632-78C7-8854-A09C-E402F5890F3D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65FB5341-9D6A-5AD4-1BD8-2F5485C53DC3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598B5874-7268-E474-7214-873F6CB68F80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17566118-6326-9A92-1588-D9FD91C253B6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871" name="Group 1870">
            <a:extLst>
              <a:ext uri="{FF2B5EF4-FFF2-40B4-BE49-F238E27FC236}">
                <a16:creationId xmlns:a16="http://schemas.microsoft.com/office/drawing/2014/main" id="{E69FB811-1FCA-478D-93CD-0E773456F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7357130">
            <a:off x="9651028" y="134503"/>
            <a:ext cx="3265141" cy="3265142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389" name="Group 388">
              <a:extLst>
                <a:ext uri="{FF2B5EF4-FFF2-40B4-BE49-F238E27FC236}">
                  <a16:creationId xmlns:a16="http://schemas.microsoft.com/office/drawing/2014/main" id="{85126FDE-5DD4-8C7C-84BA-33AE0D2253C6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396" name="Graphic 395">
                <a:extLst>
                  <a:ext uri="{FF2B5EF4-FFF2-40B4-BE49-F238E27FC236}">
                    <a16:creationId xmlns:a16="http://schemas.microsoft.com/office/drawing/2014/main" id="{84ED1A38-8C43-857E-38CE-1901E2E6B0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397" name="Graphic 396">
                <a:extLst>
                  <a:ext uri="{FF2B5EF4-FFF2-40B4-BE49-F238E27FC236}">
                    <a16:creationId xmlns:a16="http://schemas.microsoft.com/office/drawing/2014/main" id="{46EE6475-1C8A-EF98-7B93-2C718FF66B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46042BB1-02C9-2518-51E9-C801671974BC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394" name="Graphic 393">
                <a:extLst>
                  <a:ext uri="{FF2B5EF4-FFF2-40B4-BE49-F238E27FC236}">
                    <a16:creationId xmlns:a16="http://schemas.microsoft.com/office/drawing/2014/main" id="{C5CDAC68-09A4-8A43-D269-002A79558F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395" name="Graphic 394">
                <a:extLst>
                  <a:ext uri="{FF2B5EF4-FFF2-40B4-BE49-F238E27FC236}">
                    <a16:creationId xmlns:a16="http://schemas.microsoft.com/office/drawing/2014/main" id="{9E8190D5-E160-6544-2CA2-77D9F8E3F9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391" name="Group 390">
              <a:extLst>
                <a:ext uri="{FF2B5EF4-FFF2-40B4-BE49-F238E27FC236}">
                  <a16:creationId xmlns:a16="http://schemas.microsoft.com/office/drawing/2014/main" id="{CC573BB9-7CFC-D2BB-81C2-A3D4DD577200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392" name="Graphic 391">
                <a:extLst>
                  <a:ext uri="{FF2B5EF4-FFF2-40B4-BE49-F238E27FC236}">
                    <a16:creationId xmlns:a16="http://schemas.microsoft.com/office/drawing/2014/main" id="{B49EDF6F-CF17-B9BE-F7A8-70BD376A49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393" name="Graphic 392">
                <a:extLst>
                  <a:ext uri="{FF2B5EF4-FFF2-40B4-BE49-F238E27FC236}">
                    <a16:creationId xmlns:a16="http://schemas.microsoft.com/office/drawing/2014/main" id="{C4DE2EE3-2B55-9753-7350-E09F6E853C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1872" name="Graphic 5">
            <a:extLst>
              <a:ext uri="{FF2B5EF4-FFF2-40B4-BE49-F238E27FC236}">
                <a16:creationId xmlns:a16="http://schemas.microsoft.com/office/drawing/2014/main" id="{BD02F085-1FE9-F79F-AD01-78EA96B45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9139962">
            <a:off x="10281685" y="599799"/>
            <a:ext cx="2268720" cy="2340389"/>
            <a:chOff x="4071312" y="2489702"/>
            <a:chExt cx="3527294" cy="3638722"/>
          </a:xfrm>
          <a:noFill/>
        </p:grpSpPr>
        <p:sp>
          <p:nvSpPr>
            <p:cNvPr id="1912" name="Freeform: Shape 1911">
              <a:extLst>
                <a:ext uri="{FF2B5EF4-FFF2-40B4-BE49-F238E27FC236}">
                  <a16:creationId xmlns:a16="http://schemas.microsoft.com/office/drawing/2014/main" id="{C92C8DA5-8EB7-0557-8EB3-5CC1E49A3F51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3" name="Freeform: Shape 1912">
              <a:extLst>
                <a:ext uri="{FF2B5EF4-FFF2-40B4-BE49-F238E27FC236}">
                  <a16:creationId xmlns:a16="http://schemas.microsoft.com/office/drawing/2014/main" id="{05C918A8-F1F0-E2BB-B530-4EB76570AADA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4" name="Freeform: Shape 1913">
              <a:extLst>
                <a:ext uri="{FF2B5EF4-FFF2-40B4-BE49-F238E27FC236}">
                  <a16:creationId xmlns:a16="http://schemas.microsoft.com/office/drawing/2014/main" id="{8FDE2D06-2195-F2ED-6075-0F49E9E92BAE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5" name="Freeform: Shape 1914">
              <a:extLst>
                <a:ext uri="{FF2B5EF4-FFF2-40B4-BE49-F238E27FC236}">
                  <a16:creationId xmlns:a16="http://schemas.microsoft.com/office/drawing/2014/main" id="{B80FE8C3-CBA6-F152-9689-A7587EE2FE5C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6" name="Freeform: Shape 1915">
              <a:extLst>
                <a:ext uri="{FF2B5EF4-FFF2-40B4-BE49-F238E27FC236}">
                  <a16:creationId xmlns:a16="http://schemas.microsoft.com/office/drawing/2014/main" id="{F12F0030-166D-759C-098C-5923BBE1E9BD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8" name="Freeform: Shape 1917">
              <a:extLst>
                <a:ext uri="{FF2B5EF4-FFF2-40B4-BE49-F238E27FC236}">
                  <a16:creationId xmlns:a16="http://schemas.microsoft.com/office/drawing/2014/main" id="{A8BCBF6B-B0B7-C2FB-3C67-9AC3B4174980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9" name="Freeform: Shape 1918">
              <a:extLst>
                <a:ext uri="{FF2B5EF4-FFF2-40B4-BE49-F238E27FC236}">
                  <a16:creationId xmlns:a16="http://schemas.microsoft.com/office/drawing/2014/main" id="{3D244FAD-5A58-9A67-57B5-10E4EF9E5519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8335CBFC-FAA8-9AAB-B9E1-F27F94F19DA8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D608D42B-D2F7-CD08-B7A7-570FCCD313E9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5C4F39AD-7526-0DD3-7D44-F1EFFD8DE750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DF200BF6-2426-B7E4-6C11-0F9AA468A1CA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D654373D-DAA7-E279-97B8-93BD8D976DB1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873" name="Graphic 5">
            <a:extLst>
              <a:ext uri="{FF2B5EF4-FFF2-40B4-BE49-F238E27FC236}">
                <a16:creationId xmlns:a16="http://schemas.microsoft.com/office/drawing/2014/main" id="{7BE3155E-ADB5-BF74-0A90-C2BA40F4E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174432">
            <a:off x="9906505" y="406020"/>
            <a:ext cx="2754780" cy="2687020"/>
            <a:chOff x="4270587" y="2574268"/>
            <a:chExt cx="3544376" cy="3457192"/>
          </a:xfrm>
          <a:noFill/>
        </p:grpSpPr>
        <p:sp>
          <p:nvSpPr>
            <p:cNvPr id="1900" name="Freeform: Shape 1899">
              <a:extLst>
                <a:ext uri="{FF2B5EF4-FFF2-40B4-BE49-F238E27FC236}">
                  <a16:creationId xmlns:a16="http://schemas.microsoft.com/office/drawing/2014/main" id="{E926D542-3FE2-4939-D829-780CD2475628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1" name="Freeform: Shape 1900">
              <a:extLst>
                <a:ext uri="{FF2B5EF4-FFF2-40B4-BE49-F238E27FC236}">
                  <a16:creationId xmlns:a16="http://schemas.microsoft.com/office/drawing/2014/main" id="{14F38F51-BE04-CD63-1816-0604F417272E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2" name="Freeform: Shape 1901">
              <a:extLst>
                <a:ext uri="{FF2B5EF4-FFF2-40B4-BE49-F238E27FC236}">
                  <a16:creationId xmlns:a16="http://schemas.microsoft.com/office/drawing/2014/main" id="{65546940-A37D-AD87-F888-A5493EFABC6E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3" name="Freeform: Shape 1902">
              <a:extLst>
                <a:ext uri="{FF2B5EF4-FFF2-40B4-BE49-F238E27FC236}">
                  <a16:creationId xmlns:a16="http://schemas.microsoft.com/office/drawing/2014/main" id="{83984F6A-3FE8-0B0C-A71A-744FA24FE545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4" name="Freeform: Shape 1903">
              <a:extLst>
                <a:ext uri="{FF2B5EF4-FFF2-40B4-BE49-F238E27FC236}">
                  <a16:creationId xmlns:a16="http://schemas.microsoft.com/office/drawing/2014/main" id="{244AC7A4-1893-FF48-E9A0-04EED41B8DF2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5" name="Freeform: Shape 1904">
              <a:extLst>
                <a:ext uri="{FF2B5EF4-FFF2-40B4-BE49-F238E27FC236}">
                  <a16:creationId xmlns:a16="http://schemas.microsoft.com/office/drawing/2014/main" id="{8AF7D776-7AF6-BE96-A870-CBEF3AAEC044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6" name="Freeform: Shape 1905">
              <a:extLst>
                <a:ext uri="{FF2B5EF4-FFF2-40B4-BE49-F238E27FC236}">
                  <a16:creationId xmlns:a16="http://schemas.microsoft.com/office/drawing/2014/main" id="{1B3D6F20-1D59-41D5-85B6-F69C55204C92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7" name="Freeform: Shape 1906">
              <a:extLst>
                <a:ext uri="{FF2B5EF4-FFF2-40B4-BE49-F238E27FC236}">
                  <a16:creationId xmlns:a16="http://schemas.microsoft.com/office/drawing/2014/main" id="{8617C88A-711C-8CF2-96C8-9C4F9BDDCAF8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8" name="Freeform: Shape 1907">
              <a:extLst>
                <a:ext uri="{FF2B5EF4-FFF2-40B4-BE49-F238E27FC236}">
                  <a16:creationId xmlns:a16="http://schemas.microsoft.com/office/drawing/2014/main" id="{2422DE9E-5F81-EC21-4D6B-712AE2769314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09" name="Freeform: Shape 1908">
              <a:extLst>
                <a:ext uri="{FF2B5EF4-FFF2-40B4-BE49-F238E27FC236}">
                  <a16:creationId xmlns:a16="http://schemas.microsoft.com/office/drawing/2014/main" id="{9E1313F2-02AA-20D0-9CA7-CEE116420DAE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0" name="Freeform: Shape 1909">
              <a:extLst>
                <a:ext uri="{FF2B5EF4-FFF2-40B4-BE49-F238E27FC236}">
                  <a16:creationId xmlns:a16="http://schemas.microsoft.com/office/drawing/2014/main" id="{50E4692E-FFF5-C10D-4536-0CE7D9238A87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11" name="Freeform: Shape 1910">
              <a:extLst>
                <a:ext uri="{FF2B5EF4-FFF2-40B4-BE49-F238E27FC236}">
                  <a16:creationId xmlns:a16="http://schemas.microsoft.com/office/drawing/2014/main" id="{BFBE532C-FD76-E3B1-7B98-B7D589A71265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874" name="Graphic 5">
            <a:extLst>
              <a:ext uri="{FF2B5EF4-FFF2-40B4-BE49-F238E27FC236}">
                <a16:creationId xmlns:a16="http://schemas.microsoft.com/office/drawing/2014/main" id="{F09C4E4F-FD3B-0338-2E80-646F90B49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4137152">
            <a:off x="9403180" y="531606"/>
            <a:ext cx="3695560" cy="2404677"/>
            <a:chOff x="3224705" y="2448010"/>
            <a:chExt cx="5745675" cy="3738674"/>
          </a:xfrm>
          <a:noFill/>
        </p:grpSpPr>
        <p:sp>
          <p:nvSpPr>
            <p:cNvPr id="1888" name="Freeform: Shape 1887">
              <a:extLst>
                <a:ext uri="{FF2B5EF4-FFF2-40B4-BE49-F238E27FC236}">
                  <a16:creationId xmlns:a16="http://schemas.microsoft.com/office/drawing/2014/main" id="{C5569D58-EE83-EEE1-E675-99C7B0A2DB74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9" name="Freeform: Shape 1888">
              <a:extLst>
                <a:ext uri="{FF2B5EF4-FFF2-40B4-BE49-F238E27FC236}">
                  <a16:creationId xmlns:a16="http://schemas.microsoft.com/office/drawing/2014/main" id="{B3DF1F19-80AE-F5F2-CD93-673AFA2BCE72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0" name="Freeform: Shape 1889">
              <a:extLst>
                <a:ext uri="{FF2B5EF4-FFF2-40B4-BE49-F238E27FC236}">
                  <a16:creationId xmlns:a16="http://schemas.microsoft.com/office/drawing/2014/main" id="{54EE6513-5C0E-C863-914C-BEE8788B8F5C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1" name="Freeform: Shape 1890">
              <a:extLst>
                <a:ext uri="{FF2B5EF4-FFF2-40B4-BE49-F238E27FC236}">
                  <a16:creationId xmlns:a16="http://schemas.microsoft.com/office/drawing/2014/main" id="{054D4F5D-4394-4692-5D51-FE6BB3EE3F71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2" name="Freeform: Shape 1891">
              <a:extLst>
                <a:ext uri="{FF2B5EF4-FFF2-40B4-BE49-F238E27FC236}">
                  <a16:creationId xmlns:a16="http://schemas.microsoft.com/office/drawing/2014/main" id="{074A997D-EFD8-B0F8-848A-A33E48F3A5E4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3" name="Freeform: Shape 1892">
              <a:extLst>
                <a:ext uri="{FF2B5EF4-FFF2-40B4-BE49-F238E27FC236}">
                  <a16:creationId xmlns:a16="http://schemas.microsoft.com/office/drawing/2014/main" id="{7AE3DBB1-DBF1-48E7-440B-25BC82F60EC5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4" name="Freeform: Shape 1893">
              <a:extLst>
                <a:ext uri="{FF2B5EF4-FFF2-40B4-BE49-F238E27FC236}">
                  <a16:creationId xmlns:a16="http://schemas.microsoft.com/office/drawing/2014/main" id="{F1524659-2EC0-585B-4E9D-DEB5EF78262C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5" name="Freeform: Shape 1894">
              <a:extLst>
                <a:ext uri="{FF2B5EF4-FFF2-40B4-BE49-F238E27FC236}">
                  <a16:creationId xmlns:a16="http://schemas.microsoft.com/office/drawing/2014/main" id="{FA4B16C8-EC9A-0F2F-6943-B96112D9CE7D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6" name="Freeform: Shape 1895">
              <a:extLst>
                <a:ext uri="{FF2B5EF4-FFF2-40B4-BE49-F238E27FC236}">
                  <a16:creationId xmlns:a16="http://schemas.microsoft.com/office/drawing/2014/main" id="{9AE59024-D9BA-7E01-51B3-C93D5AC746ED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7" name="Freeform: Shape 1896">
              <a:extLst>
                <a:ext uri="{FF2B5EF4-FFF2-40B4-BE49-F238E27FC236}">
                  <a16:creationId xmlns:a16="http://schemas.microsoft.com/office/drawing/2014/main" id="{5ABE7891-422C-15AF-21FA-7376E2276151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8" name="Freeform: Shape 1897">
              <a:extLst>
                <a:ext uri="{FF2B5EF4-FFF2-40B4-BE49-F238E27FC236}">
                  <a16:creationId xmlns:a16="http://schemas.microsoft.com/office/drawing/2014/main" id="{4A1202DA-5B01-051E-C22D-9CAB40F9CF17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99" name="Freeform: Shape 1898">
              <a:extLst>
                <a:ext uri="{FF2B5EF4-FFF2-40B4-BE49-F238E27FC236}">
                  <a16:creationId xmlns:a16="http://schemas.microsoft.com/office/drawing/2014/main" id="{F9AD52FC-8AF0-5768-2F26-E3D6087C8FCF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1875" name="Graphic 5">
            <a:extLst>
              <a:ext uri="{FF2B5EF4-FFF2-40B4-BE49-F238E27FC236}">
                <a16:creationId xmlns:a16="http://schemas.microsoft.com/office/drawing/2014/main" id="{E4373C5C-BA7F-B4B1-7F9D-CCF3552CC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5747855">
            <a:off x="10033815" y="337291"/>
            <a:ext cx="2491692" cy="3185430"/>
            <a:chOff x="4061078" y="1549502"/>
            <a:chExt cx="3873961" cy="4952549"/>
          </a:xfrm>
          <a:noFill/>
        </p:grpSpPr>
        <p:sp>
          <p:nvSpPr>
            <p:cNvPr id="1876" name="Freeform: Shape 1875">
              <a:extLst>
                <a:ext uri="{FF2B5EF4-FFF2-40B4-BE49-F238E27FC236}">
                  <a16:creationId xmlns:a16="http://schemas.microsoft.com/office/drawing/2014/main" id="{7B36F76C-1E6C-E59C-CFBB-C6800270FCF3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77" name="Freeform: Shape 1876">
              <a:extLst>
                <a:ext uri="{FF2B5EF4-FFF2-40B4-BE49-F238E27FC236}">
                  <a16:creationId xmlns:a16="http://schemas.microsoft.com/office/drawing/2014/main" id="{3AE1BE84-0F59-6B01-00A5-27B7D1285C38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78" name="Freeform: Shape 1877">
              <a:extLst>
                <a:ext uri="{FF2B5EF4-FFF2-40B4-BE49-F238E27FC236}">
                  <a16:creationId xmlns:a16="http://schemas.microsoft.com/office/drawing/2014/main" id="{2D83E4F3-F208-422F-70B2-9C76E3385BE6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79" name="Freeform: Shape 1878">
              <a:extLst>
                <a:ext uri="{FF2B5EF4-FFF2-40B4-BE49-F238E27FC236}">
                  <a16:creationId xmlns:a16="http://schemas.microsoft.com/office/drawing/2014/main" id="{816F41C4-BE10-D659-5803-30D6CA39A1EE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0" name="Freeform: Shape 1879">
              <a:extLst>
                <a:ext uri="{FF2B5EF4-FFF2-40B4-BE49-F238E27FC236}">
                  <a16:creationId xmlns:a16="http://schemas.microsoft.com/office/drawing/2014/main" id="{F109989E-6554-CC36-83BA-AF9350DDF3AE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1" name="Freeform: Shape 1880">
              <a:extLst>
                <a:ext uri="{FF2B5EF4-FFF2-40B4-BE49-F238E27FC236}">
                  <a16:creationId xmlns:a16="http://schemas.microsoft.com/office/drawing/2014/main" id="{43B8AD49-B59D-2887-0E3F-6E90C8642AF1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2" name="Freeform: Shape 1881">
              <a:extLst>
                <a:ext uri="{FF2B5EF4-FFF2-40B4-BE49-F238E27FC236}">
                  <a16:creationId xmlns:a16="http://schemas.microsoft.com/office/drawing/2014/main" id="{34C4B658-0C33-4990-426E-C61DED17CDD4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3" name="Freeform: Shape 1882">
              <a:extLst>
                <a:ext uri="{FF2B5EF4-FFF2-40B4-BE49-F238E27FC236}">
                  <a16:creationId xmlns:a16="http://schemas.microsoft.com/office/drawing/2014/main" id="{BDFB4A17-87E5-EBDD-893C-A6A11B3D2928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4" name="Freeform: Shape 1883">
              <a:extLst>
                <a:ext uri="{FF2B5EF4-FFF2-40B4-BE49-F238E27FC236}">
                  <a16:creationId xmlns:a16="http://schemas.microsoft.com/office/drawing/2014/main" id="{0E217895-6D41-DCB9-1816-242524F14B5B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5" name="Freeform: Shape 1884">
              <a:extLst>
                <a:ext uri="{FF2B5EF4-FFF2-40B4-BE49-F238E27FC236}">
                  <a16:creationId xmlns:a16="http://schemas.microsoft.com/office/drawing/2014/main" id="{911ACB22-1FC0-9759-15F7-E11E7C19320A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6" name="Freeform: Shape 1885">
              <a:extLst>
                <a:ext uri="{FF2B5EF4-FFF2-40B4-BE49-F238E27FC236}">
                  <a16:creationId xmlns:a16="http://schemas.microsoft.com/office/drawing/2014/main" id="{6C035170-ADC4-D109-763C-0190880675A6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87" name="Freeform: Shape 1886">
              <a:extLst>
                <a:ext uri="{FF2B5EF4-FFF2-40B4-BE49-F238E27FC236}">
                  <a16:creationId xmlns:a16="http://schemas.microsoft.com/office/drawing/2014/main" id="{518273DD-5A40-66A3-953A-240FBF2A2E18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90FD17CB-4E75-9C44-DCEB-4C920AB31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3312599">
            <a:off x="-445882" y="174727"/>
            <a:ext cx="3261572" cy="3261570"/>
            <a:chOff x="-13073550" y="260470"/>
            <a:chExt cx="10868115" cy="10868116"/>
          </a:xfrm>
          <a:solidFill>
            <a:schemeClr val="bg1">
              <a:lumMod val="85000"/>
            </a:schemeClr>
          </a:solidFill>
        </p:grpSpPr>
        <p:grpSp>
          <p:nvGrpSpPr>
            <p:cNvPr id="1939" name="Group 1938">
              <a:extLst>
                <a:ext uri="{FF2B5EF4-FFF2-40B4-BE49-F238E27FC236}">
                  <a16:creationId xmlns:a16="http://schemas.microsoft.com/office/drawing/2014/main" id="{BBBAE4DD-AC8A-784B-E227-884789CC15FD}"/>
                </a:ext>
              </a:extLst>
            </p:cNvPr>
            <p:cNvGrpSpPr/>
            <p:nvPr/>
          </p:nvGrpSpPr>
          <p:grpSpPr>
            <a:xfrm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46" name="Graphic 1945">
                <a:extLst>
                  <a:ext uri="{FF2B5EF4-FFF2-40B4-BE49-F238E27FC236}">
                    <a16:creationId xmlns:a16="http://schemas.microsoft.com/office/drawing/2014/main" id="{CE74C588-93A8-6DEF-F22C-4C7A98D2C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47" name="Graphic 1946">
                <a:extLst>
                  <a:ext uri="{FF2B5EF4-FFF2-40B4-BE49-F238E27FC236}">
                    <a16:creationId xmlns:a16="http://schemas.microsoft.com/office/drawing/2014/main" id="{2C560DE7-B380-522F-4F7C-E23B43F456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940" name="Group 1939">
              <a:extLst>
                <a:ext uri="{FF2B5EF4-FFF2-40B4-BE49-F238E27FC236}">
                  <a16:creationId xmlns:a16="http://schemas.microsoft.com/office/drawing/2014/main" id="{74DB0CCD-B3BF-B295-F82C-7A239FB45387}"/>
                </a:ext>
              </a:extLst>
            </p:cNvPr>
            <p:cNvGrpSpPr/>
            <p:nvPr/>
          </p:nvGrpSpPr>
          <p:grpSpPr>
            <a:xfrm rot="18000000">
              <a:off x="-13073550" y="3398292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44" name="Graphic 1943">
                <a:extLst>
                  <a:ext uri="{FF2B5EF4-FFF2-40B4-BE49-F238E27FC236}">
                    <a16:creationId xmlns:a16="http://schemas.microsoft.com/office/drawing/2014/main" id="{D01A269D-51D8-A139-32B5-4A1E68326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45" name="Graphic 1944">
                <a:extLst>
                  <a:ext uri="{FF2B5EF4-FFF2-40B4-BE49-F238E27FC236}">
                    <a16:creationId xmlns:a16="http://schemas.microsoft.com/office/drawing/2014/main" id="{E77A737D-D9D3-F1BC-4DA4-D712E2B28E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  <p:grpSp>
          <p:nvGrpSpPr>
            <p:cNvPr id="1941" name="Group 1940">
              <a:extLst>
                <a:ext uri="{FF2B5EF4-FFF2-40B4-BE49-F238E27FC236}">
                  <a16:creationId xmlns:a16="http://schemas.microsoft.com/office/drawing/2014/main" id="{D123E033-4EE6-0044-D1EF-325F87BF9B25}"/>
                </a:ext>
              </a:extLst>
            </p:cNvPr>
            <p:cNvGrpSpPr/>
            <p:nvPr/>
          </p:nvGrpSpPr>
          <p:grpSpPr>
            <a:xfrm rot="3600000">
              <a:off x="-13073550" y="3398291"/>
              <a:ext cx="10868115" cy="4592474"/>
              <a:chOff x="-13073550" y="3398292"/>
              <a:chExt cx="10868115" cy="4592474"/>
            </a:xfrm>
            <a:grpFill/>
          </p:grpSpPr>
          <p:pic>
            <p:nvPicPr>
              <p:cNvPr id="1942" name="Graphic 1941">
                <a:extLst>
                  <a:ext uri="{FF2B5EF4-FFF2-40B4-BE49-F238E27FC236}">
                    <a16:creationId xmlns:a16="http://schemas.microsoft.com/office/drawing/2014/main" id="{3A1F8AE8-1F33-A340-55A4-9789A06EF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-4517729" y="3398292"/>
                <a:ext cx="2312294" cy="4592474"/>
              </a:xfrm>
              <a:prstGeom prst="rect">
                <a:avLst/>
              </a:prstGeom>
            </p:spPr>
          </p:pic>
          <p:pic>
            <p:nvPicPr>
              <p:cNvPr id="1943" name="Graphic 1942">
                <a:extLst>
                  <a:ext uri="{FF2B5EF4-FFF2-40B4-BE49-F238E27FC236}">
                    <a16:creationId xmlns:a16="http://schemas.microsoft.com/office/drawing/2014/main" id="{66D1347C-67FF-8728-06E5-0EC1478775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-13073550" y="3398292"/>
                <a:ext cx="2312294" cy="4592474"/>
              </a:xfrm>
              <a:prstGeom prst="rect">
                <a:avLst/>
              </a:prstGeom>
            </p:spPr>
          </p:pic>
        </p:grpSp>
      </p:grpSp>
      <p:grpSp>
        <p:nvGrpSpPr>
          <p:cNvPr id="400" name="Graphic 5">
            <a:extLst>
              <a:ext uri="{FF2B5EF4-FFF2-40B4-BE49-F238E27FC236}">
                <a16:creationId xmlns:a16="http://schemas.microsoft.com/office/drawing/2014/main" id="{0EB5BB7D-856A-CDDB-1914-BF4C1DF55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8541727">
            <a:off x="105302" y="515568"/>
            <a:ext cx="2266239" cy="2337831"/>
            <a:chOff x="4071312" y="2489702"/>
            <a:chExt cx="3527293" cy="3638722"/>
          </a:xfrm>
          <a:noFill/>
        </p:grpSpPr>
        <p:sp>
          <p:nvSpPr>
            <p:cNvPr id="1927" name="Freeform: Shape 1926">
              <a:extLst>
                <a:ext uri="{FF2B5EF4-FFF2-40B4-BE49-F238E27FC236}">
                  <a16:creationId xmlns:a16="http://schemas.microsoft.com/office/drawing/2014/main" id="{813312F6-4F54-0518-ABA3-234B3A44C254}"/>
                </a:ext>
              </a:extLst>
            </p:cNvPr>
            <p:cNvSpPr/>
            <p:nvPr/>
          </p:nvSpPr>
          <p:spPr>
            <a:xfrm>
              <a:off x="4071312" y="2489702"/>
              <a:ext cx="3259151" cy="3638722"/>
            </a:xfrm>
            <a:custGeom>
              <a:avLst/>
              <a:gdLst>
                <a:gd name="connsiteX0" fmla="*/ 3079707 w 3259151"/>
                <a:gd name="connsiteY0" fmla="*/ 3021953 h 3638722"/>
                <a:gd name="connsiteX1" fmla="*/ 3132080 w 3259151"/>
                <a:gd name="connsiteY1" fmla="*/ 1787369 h 3638722"/>
                <a:gd name="connsiteX2" fmla="*/ 3107243 w 3259151"/>
                <a:gd name="connsiteY2" fmla="*/ 829383 h 3638722"/>
                <a:gd name="connsiteX3" fmla="*/ 1658848 w 3259151"/>
                <a:gd name="connsiteY3" fmla="*/ 4990 h 3638722"/>
                <a:gd name="connsiteX4" fmla="*/ 849418 w 3259151"/>
                <a:gd name="connsiteY4" fmla="*/ 1005939 h 3638722"/>
                <a:gd name="connsiteX5" fmla="*/ 4585 w 3259151"/>
                <a:gd name="connsiteY5" fmla="*/ 2043526 h 3638722"/>
                <a:gd name="connsiteX6" fmla="*/ 820725 w 3259151"/>
                <a:gd name="connsiteY6" fmla="*/ 2918441 h 3638722"/>
                <a:gd name="connsiteX7" fmla="*/ 2033249 w 3259151"/>
                <a:gd name="connsiteY7" fmla="*/ 3633846 h 3638722"/>
                <a:gd name="connsiteX8" fmla="*/ 3079785 w 3259151"/>
                <a:gd name="connsiteY8" fmla="*/ 3022030 h 36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9151" h="3638722">
                  <a:moveTo>
                    <a:pt x="3079707" y="3021953"/>
                  </a:moveTo>
                  <a:cubicBezTo>
                    <a:pt x="3412226" y="2666372"/>
                    <a:pt x="3192167" y="2234970"/>
                    <a:pt x="3132080" y="1787369"/>
                  </a:cubicBezTo>
                  <a:cubicBezTo>
                    <a:pt x="3085955" y="1443358"/>
                    <a:pt x="3380525" y="1084923"/>
                    <a:pt x="3107243" y="829383"/>
                  </a:cubicBezTo>
                  <a:cubicBezTo>
                    <a:pt x="2749194" y="494473"/>
                    <a:pt x="2109225" y="-58259"/>
                    <a:pt x="1658848" y="4990"/>
                  </a:cubicBezTo>
                  <a:cubicBezTo>
                    <a:pt x="1318153" y="52812"/>
                    <a:pt x="1102645" y="735127"/>
                    <a:pt x="849418" y="1005939"/>
                  </a:cubicBezTo>
                  <a:cubicBezTo>
                    <a:pt x="515743" y="1362755"/>
                    <a:pt x="-56967" y="1594538"/>
                    <a:pt x="4585" y="2043526"/>
                  </a:cubicBezTo>
                  <a:cubicBezTo>
                    <a:pt x="51559" y="2385918"/>
                    <a:pt x="548678" y="2663981"/>
                    <a:pt x="820725" y="2918441"/>
                  </a:cubicBezTo>
                  <a:cubicBezTo>
                    <a:pt x="1173298" y="3248183"/>
                    <a:pt x="1589043" y="3690075"/>
                    <a:pt x="2033249" y="3633846"/>
                  </a:cubicBezTo>
                  <a:cubicBezTo>
                    <a:pt x="2381349" y="3589726"/>
                    <a:pt x="2821390" y="3298397"/>
                    <a:pt x="3079785" y="302203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8" name="Freeform: Shape 1927">
              <a:extLst>
                <a:ext uri="{FF2B5EF4-FFF2-40B4-BE49-F238E27FC236}">
                  <a16:creationId xmlns:a16="http://schemas.microsoft.com/office/drawing/2014/main" id="{E0A46A71-83C7-1C34-318E-7EF67E4C8E5E}"/>
                </a:ext>
              </a:extLst>
            </p:cNvPr>
            <p:cNvSpPr/>
            <p:nvPr/>
          </p:nvSpPr>
          <p:spPr>
            <a:xfrm>
              <a:off x="4109618" y="2534620"/>
              <a:ext cx="3220782" cy="3579817"/>
            </a:xfrm>
            <a:custGeom>
              <a:avLst/>
              <a:gdLst>
                <a:gd name="connsiteX0" fmla="*/ 791058 w 3220782"/>
                <a:gd name="connsiteY0" fmla="*/ 2907154 h 3579817"/>
                <a:gd name="connsiteX1" fmla="*/ 2002194 w 3220782"/>
                <a:gd name="connsiteY1" fmla="*/ 3574659 h 3579817"/>
                <a:gd name="connsiteX2" fmla="*/ 3028289 w 3220782"/>
                <a:gd name="connsiteY2" fmla="*/ 2934613 h 3579817"/>
                <a:gd name="connsiteX3" fmla="*/ 3129333 w 3220782"/>
                <a:gd name="connsiteY3" fmla="*/ 1743455 h 3579817"/>
                <a:gd name="connsiteX4" fmla="*/ 3052277 w 3220782"/>
                <a:gd name="connsiteY4" fmla="*/ 731167 h 3579817"/>
                <a:gd name="connsiteX5" fmla="*/ 1620928 w 3220782"/>
                <a:gd name="connsiteY5" fmla="*/ 5581 h 3579817"/>
                <a:gd name="connsiteX6" fmla="*/ 765913 w 3220782"/>
                <a:gd name="connsiteY6" fmla="*/ 939888 h 3579817"/>
                <a:gd name="connsiteX7" fmla="*/ 5000 w 3220782"/>
                <a:gd name="connsiteY7" fmla="*/ 1991745 h 3579817"/>
                <a:gd name="connsiteX8" fmla="*/ 791058 w 3220782"/>
                <a:gd name="connsiteY8" fmla="*/ 2907231 h 357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782" h="3579817">
                  <a:moveTo>
                    <a:pt x="791058" y="2907154"/>
                  </a:moveTo>
                  <a:cubicBezTo>
                    <a:pt x="1139775" y="3222549"/>
                    <a:pt x="1564312" y="3630426"/>
                    <a:pt x="2002194" y="3574659"/>
                  </a:cubicBezTo>
                  <a:cubicBezTo>
                    <a:pt x="2362558" y="3528688"/>
                    <a:pt x="2770743" y="3219772"/>
                    <a:pt x="3028289" y="2934613"/>
                  </a:cubicBezTo>
                  <a:cubicBezTo>
                    <a:pt x="3345767" y="2583197"/>
                    <a:pt x="3188417" y="2184113"/>
                    <a:pt x="3129333" y="1743455"/>
                  </a:cubicBezTo>
                  <a:cubicBezTo>
                    <a:pt x="3081433" y="1386485"/>
                    <a:pt x="3334968" y="986244"/>
                    <a:pt x="3052277" y="731167"/>
                  </a:cubicBezTo>
                  <a:cubicBezTo>
                    <a:pt x="2698624" y="412069"/>
                    <a:pt x="2063823" y="-56434"/>
                    <a:pt x="1620928" y="5581"/>
                  </a:cubicBezTo>
                  <a:cubicBezTo>
                    <a:pt x="1267198" y="54946"/>
                    <a:pt x="1018908" y="659665"/>
                    <a:pt x="765913" y="939888"/>
                  </a:cubicBezTo>
                  <a:cubicBezTo>
                    <a:pt x="447664" y="1292461"/>
                    <a:pt x="-55549" y="1549929"/>
                    <a:pt x="5000" y="1991745"/>
                  </a:cubicBezTo>
                  <a:cubicBezTo>
                    <a:pt x="53516" y="2346477"/>
                    <a:pt x="510218" y="2653234"/>
                    <a:pt x="791058" y="290723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9" name="Freeform: Shape 1928">
              <a:extLst>
                <a:ext uri="{FF2B5EF4-FFF2-40B4-BE49-F238E27FC236}">
                  <a16:creationId xmlns:a16="http://schemas.microsoft.com/office/drawing/2014/main" id="{44CEAAD5-BB26-C32C-F244-9F0325821C45}"/>
                </a:ext>
              </a:extLst>
            </p:cNvPr>
            <p:cNvSpPr/>
            <p:nvPr/>
          </p:nvSpPr>
          <p:spPr>
            <a:xfrm>
              <a:off x="4147825" y="2579175"/>
              <a:ext cx="3187979" cy="3521387"/>
            </a:xfrm>
            <a:custGeom>
              <a:avLst/>
              <a:gdLst>
                <a:gd name="connsiteX0" fmla="*/ 761567 w 3187979"/>
                <a:gd name="connsiteY0" fmla="*/ 2896229 h 3521387"/>
                <a:gd name="connsiteX1" fmla="*/ 1971315 w 3187979"/>
                <a:gd name="connsiteY1" fmla="*/ 3515912 h 3521387"/>
                <a:gd name="connsiteX2" fmla="*/ 2977047 w 3187979"/>
                <a:gd name="connsiteY2" fmla="*/ 2847635 h 3521387"/>
                <a:gd name="connsiteX3" fmla="*/ 3126683 w 3187979"/>
                <a:gd name="connsiteY3" fmla="*/ 1699825 h 3521387"/>
                <a:gd name="connsiteX4" fmla="*/ 2997409 w 3187979"/>
                <a:gd name="connsiteY4" fmla="*/ 633236 h 3521387"/>
                <a:gd name="connsiteX5" fmla="*/ 1583183 w 3187979"/>
                <a:gd name="connsiteY5" fmla="*/ 6380 h 3521387"/>
                <a:gd name="connsiteX6" fmla="*/ 682583 w 3187979"/>
                <a:gd name="connsiteY6" fmla="*/ 874121 h 3521387"/>
                <a:gd name="connsiteX7" fmla="*/ 5513 w 3187979"/>
                <a:gd name="connsiteY7" fmla="*/ 1940171 h 3521387"/>
                <a:gd name="connsiteX8" fmla="*/ 761567 w 3187979"/>
                <a:gd name="connsiteY8" fmla="*/ 2896229 h 352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87979" h="3521387">
                  <a:moveTo>
                    <a:pt x="761567" y="2896229"/>
                  </a:moveTo>
                  <a:cubicBezTo>
                    <a:pt x="1106195" y="3197508"/>
                    <a:pt x="1539681" y="3571139"/>
                    <a:pt x="1971315" y="3515912"/>
                  </a:cubicBezTo>
                  <a:cubicBezTo>
                    <a:pt x="2343865" y="3468090"/>
                    <a:pt x="2720426" y="3141742"/>
                    <a:pt x="2977047" y="2847635"/>
                  </a:cubicBezTo>
                  <a:cubicBezTo>
                    <a:pt x="3279715" y="2500770"/>
                    <a:pt x="3184842" y="2133542"/>
                    <a:pt x="3126683" y="1699825"/>
                  </a:cubicBezTo>
                  <a:cubicBezTo>
                    <a:pt x="3077087" y="1329975"/>
                    <a:pt x="3289665" y="887620"/>
                    <a:pt x="2997409" y="633236"/>
                  </a:cubicBezTo>
                  <a:cubicBezTo>
                    <a:pt x="2648539" y="329565"/>
                    <a:pt x="2018520" y="-54246"/>
                    <a:pt x="1583183" y="6380"/>
                  </a:cubicBezTo>
                  <a:cubicBezTo>
                    <a:pt x="1216418" y="57287"/>
                    <a:pt x="935115" y="584257"/>
                    <a:pt x="682583" y="874121"/>
                  </a:cubicBezTo>
                  <a:cubicBezTo>
                    <a:pt x="379529" y="1222066"/>
                    <a:pt x="-53879" y="1505683"/>
                    <a:pt x="5513" y="1940171"/>
                  </a:cubicBezTo>
                  <a:cubicBezTo>
                    <a:pt x="55572" y="2307322"/>
                    <a:pt x="471703" y="2642848"/>
                    <a:pt x="761567" y="28962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0" name="Freeform: Shape 1929">
              <a:extLst>
                <a:ext uri="{FF2B5EF4-FFF2-40B4-BE49-F238E27FC236}">
                  <a16:creationId xmlns:a16="http://schemas.microsoft.com/office/drawing/2014/main" id="{9F6D92EC-EDA1-7C02-437C-F479D998B96A}"/>
                </a:ext>
              </a:extLst>
            </p:cNvPr>
            <p:cNvSpPr/>
            <p:nvPr/>
          </p:nvSpPr>
          <p:spPr>
            <a:xfrm>
              <a:off x="4185926" y="2623531"/>
              <a:ext cx="3162650" cy="3463280"/>
            </a:xfrm>
            <a:custGeom>
              <a:avLst/>
              <a:gdLst>
                <a:gd name="connsiteX0" fmla="*/ 732182 w 3162650"/>
                <a:gd name="connsiteY0" fmla="*/ 2885579 h 3463280"/>
                <a:gd name="connsiteX1" fmla="*/ 1940541 w 3162650"/>
                <a:gd name="connsiteY1" fmla="*/ 3457440 h 3463280"/>
                <a:gd name="connsiteX2" fmla="*/ 2925910 w 3162650"/>
                <a:gd name="connsiteY2" fmla="*/ 2760933 h 3463280"/>
                <a:gd name="connsiteX3" fmla="*/ 3124217 w 3162650"/>
                <a:gd name="connsiteY3" fmla="*/ 1656549 h 3463280"/>
                <a:gd name="connsiteX4" fmla="*/ 2942725 w 3162650"/>
                <a:gd name="connsiteY4" fmla="*/ 535658 h 3463280"/>
                <a:gd name="connsiteX5" fmla="*/ 1545622 w 3162650"/>
                <a:gd name="connsiteY5" fmla="*/ 7609 h 3463280"/>
                <a:gd name="connsiteX6" fmla="*/ 599436 w 3162650"/>
                <a:gd name="connsiteY6" fmla="*/ 808708 h 3463280"/>
                <a:gd name="connsiteX7" fmla="*/ 6210 w 3162650"/>
                <a:gd name="connsiteY7" fmla="*/ 1888949 h 3463280"/>
                <a:gd name="connsiteX8" fmla="*/ 732182 w 3162650"/>
                <a:gd name="connsiteY8" fmla="*/ 2885579 h 34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2650" h="3463280">
                  <a:moveTo>
                    <a:pt x="732182" y="2885579"/>
                  </a:moveTo>
                  <a:cubicBezTo>
                    <a:pt x="1072413" y="3173052"/>
                    <a:pt x="1515232" y="3512050"/>
                    <a:pt x="1940541" y="3457440"/>
                  </a:cubicBezTo>
                  <a:cubicBezTo>
                    <a:pt x="2325355" y="3407689"/>
                    <a:pt x="2670370" y="3064218"/>
                    <a:pt x="2925910" y="2760933"/>
                  </a:cubicBezTo>
                  <a:cubicBezTo>
                    <a:pt x="3214077" y="2418850"/>
                    <a:pt x="3181450" y="2083246"/>
                    <a:pt x="3124217" y="1656549"/>
                  </a:cubicBezTo>
                  <a:cubicBezTo>
                    <a:pt x="3072847" y="1273817"/>
                    <a:pt x="3244776" y="789270"/>
                    <a:pt x="2942725" y="535658"/>
                  </a:cubicBezTo>
                  <a:cubicBezTo>
                    <a:pt x="2599022" y="247105"/>
                    <a:pt x="1973399" y="-51783"/>
                    <a:pt x="1545622" y="7609"/>
                  </a:cubicBezTo>
                  <a:cubicBezTo>
                    <a:pt x="1165821" y="60059"/>
                    <a:pt x="851352" y="508970"/>
                    <a:pt x="599436" y="808708"/>
                  </a:cubicBezTo>
                  <a:cubicBezTo>
                    <a:pt x="311192" y="1151639"/>
                    <a:pt x="-52025" y="1461712"/>
                    <a:pt x="6210" y="1888949"/>
                  </a:cubicBezTo>
                  <a:cubicBezTo>
                    <a:pt x="57888" y="2268441"/>
                    <a:pt x="433139" y="2632970"/>
                    <a:pt x="732182" y="288557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1" name="Freeform: Shape 1930">
              <a:extLst>
                <a:ext uri="{FF2B5EF4-FFF2-40B4-BE49-F238E27FC236}">
                  <a16:creationId xmlns:a16="http://schemas.microsoft.com/office/drawing/2014/main" id="{7A1179E7-0FDB-38D3-E42E-14B94C25F6B6}"/>
                </a:ext>
              </a:extLst>
            </p:cNvPr>
            <p:cNvSpPr/>
            <p:nvPr/>
          </p:nvSpPr>
          <p:spPr>
            <a:xfrm>
              <a:off x="4223622" y="2666959"/>
              <a:ext cx="3145783" cy="3406134"/>
            </a:xfrm>
            <a:custGeom>
              <a:avLst/>
              <a:gdLst>
                <a:gd name="connsiteX0" fmla="*/ 703202 w 3145783"/>
                <a:gd name="connsiteY0" fmla="*/ 2875858 h 3406134"/>
                <a:gd name="connsiteX1" fmla="*/ 1910173 w 3145783"/>
                <a:gd name="connsiteY1" fmla="*/ 3399820 h 3406134"/>
                <a:gd name="connsiteX2" fmla="*/ 2875101 w 3145783"/>
                <a:gd name="connsiteY2" fmla="*/ 2675082 h 3406134"/>
                <a:gd name="connsiteX3" fmla="*/ 3122003 w 3145783"/>
                <a:gd name="connsiteY3" fmla="*/ 1614047 h 3406134"/>
                <a:gd name="connsiteX4" fmla="*/ 2888291 w 3145783"/>
                <a:gd name="connsiteY4" fmla="*/ 438855 h 3406134"/>
                <a:gd name="connsiteX5" fmla="*/ 1508312 w 3145783"/>
                <a:gd name="connsiteY5" fmla="*/ 9612 h 3406134"/>
                <a:gd name="connsiteX6" fmla="*/ 516541 w 3145783"/>
                <a:gd name="connsiteY6" fmla="*/ 744146 h 3406134"/>
                <a:gd name="connsiteX7" fmla="*/ 7234 w 3145783"/>
                <a:gd name="connsiteY7" fmla="*/ 1838580 h 3406134"/>
                <a:gd name="connsiteX8" fmla="*/ 703125 w 3145783"/>
                <a:gd name="connsiteY8" fmla="*/ 2875858 h 34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783" h="3406134">
                  <a:moveTo>
                    <a:pt x="703202" y="2875858"/>
                  </a:moveTo>
                  <a:cubicBezTo>
                    <a:pt x="1038729" y="3149756"/>
                    <a:pt x="1491188" y="3453967"/>
                    <a:pt x="1910173" y="3399820"/>
                  </a:cubicBezTo>
                  <a:cubicBezTo>
                    <a:pt x="2307174" y="3348218"/>
                    <a:pt x="2620872" y="2987778"/>
                    <a:pt x="2875101" y="2675082"/>
                  </a:cubicBezTo>
                  <a:cubicBezTo>
                    <a:pt x="3149077" y="2338167"/>
                    <a:pt x="3178310" y="2033802"/>
                    <a:pt x="3122003" y="1614047"/>
                  </a:cubicBezTo>
                  <a:cubicBezTo>
                    <a:pt x="3068936" y="1218434"/>
                    <a:pt x="3200369" y="691464"/>
                    <a:pt x="2888291" y="438855"/>
                  </a:cubicBezTo>
                  <a:cubicBezTo>
                    <a:pt x="2549988" y="165034"/>
                    <a:pt x="1928530" y="-48546"/>
                    <a:pt x="1508312" y="9612"/>
                  </a:cubicBezTo>
                  <a:cubicBezTo>
                    <a:pt x="1115476" y="63605"/>
                    <a:pt x="767685" y="434304"/>
                    <a:pt x="516541" y="744146"/>
                  </a:cubicBezTo>
                  <a:cubicBezTo>
                    <a:pt x="242797" y="1081832"/>
                    <a:pt x="-49998" y="1418593"/>
                    <a:pt x="7234" y="1838580"/>
                  </a:cubicBezTo>
                  <a:cubicBezTo>
                    <a:pt x="60456" y="2230413"/>
                    <a:pt x="394749" y="2624098"/>
                    <a:pt x="703125" y="287585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2" name="Freeform: Shape 1931">
              <a:extLst>
                <a:ext uri="{FF2B5EF4-FFF2-40B4-BE49-F238E27FC236}">
                  <a16:creationId xmlns:a16="http://schemas.microsoft.com/office/drawing/2014/main" id="{0AC238B8-E764-0549-9C30-48360783E725}"/>
                </a:ext>
              </a:extLst>
            </p:cNvPr>
            <p:cNvSpPr/>
            <p:nvPr/>
          </p:nvSpPr>
          <p:spPr>
            <a:xfrm>
              <a:off x="4260986" y="2709255"/>
              <a:ext cx="3135893" cy="3350272"/>
            </a:xfrm>
            <a:custGeom>
              <a:avLst/>
              <a:gdLst>
                <a:gd name="connsiteX0" fmla="*/ 674554 w 3135893"/>
                <a:gd name="connsiteY0" fmla="*/ 2867269 h 3350272"/>
                <a:gd name="connsiteX1" fmla="*/ 1880214 w 3135893"/>
                <a:gd name="connsiteY1" fmla="*/ 3343408 h 3350272"/>
                <a:gd name="connsiteX2" fmla="*/ 2824779 w 3135893"/>
                <a:gd name="connsiteY2" fmla="*/ 2590440 h 3350272"/>
                <a:gd name="connsiteX3" fmla="*/ 3120352 w 3135893"/>
                <a:gd name="connsiteY3" fmla="*/ 1572830 h 3350272"/>
                <a:gd name="connsiteX4" fmla="*/ 2834498 w 3135893"/>
                <a:gd name="connsiteY4" fmla="*/ 343337 h 3350272"/>
                <a:gd name="connsiteX5" fmla="*/ 1471565 w 3135893"/>
                <a:gd name="connsiteY5" fmla="*/ 12824 h 3350272"/>
                <a:gd name="connsiteX6" fmla="*/ 434209 w 3135893"/>
                <a:gd name="connsiteY6" fmla="*/ 680715 h 3350272"/>
                <a:gd name="connsiteX7" fmla="*/ 8746 w 3135893"/>
                <a:gd name="connsiteY7" fmla="*/ 1789341 h 3350272"/>
                <a:gd name="connsiteX8" fmla="*/ 674631 w 3135893"/>
                <a:gd name="connsiteY8" fmla="*/ 2867192 h 335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893" h="3350272">
                  <a:moveTo>
                    <a:pt x="674554" y="2867269"/>
                  </a:moveTo>
                  <a:cubicBezTo>
                    <a:pt x="1005144" y="3127900"/>
                    <a:pt x="1467477" y="3396938"/>
                    <a:pt x="1880214" y="3343408"/>
                  </a:cubicBezTo>
                  <a:cubicBezTo>
                    <a:pt x="2289402" y="3289956"/>
                    <a:pt x="2572016" y="2912777"/>
                    <a:pt x="2824779" y="2590440"/>
                  </a:cubicBezTo>
                  <a:cubicBezTo>
                    <a:pt x="3084794" y="2258847"/>
                    <a:pt x="3175656" y="1985567"/>
                    <a:pt x="3120352" y="1572830"/>
                  </a:cubicBezTo>
                  <a:cubicBezTo>
                    <a:pt x="3065587" y="1164336"/>
                    <a:pt x="3156758" y="594635"/>
                    <a:pt x="2834498" y="343337"/>
                  </a:cubicBezTo>
                  <a:cubicBezTo>
                    <a:pt x="2512238" y="92039"/>
                    <a:pt x="1884302" y="-44023"/>
                    <a:pt x="1471565" y="12824"/>
                  </a:cubicBezTo>
                  <a:cubicBezTo>
                    <a:pt x="1065694" y="68359"/>
                    <a:pt x="684273" y="360692"/>
                    <a:pt x="434209" y="680715"/>
                  </a:cubicBezTo>
                  <a:cubicBezTo>
                    <a:pt x="174658" y="1012848"/>
                    <a:pt x="-47330" y="1376605"/>
                    <a:pt x="8746" y="1789341"/>
                  </a:cubicBezTo>
                  <a:cubicBezTo>
                    <a:pt x="63510" y="2193593"/>
                    <a:pt x="356691" y="2616588"/>
                    <a:pt x="674631" y="286719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3" name="Freeform: Shape 1932">
              <a:extLst>
                <a:ext uri="{FF2B5EF4-FFF2-40B4-BE49-F238E27FC236}">
                  <a16:creationId xmlns:a16="http://schemas.microsoft.com/office/drawing/2014/main" id="{F7FB3CEB-D693-5789-2F30-90093E4C1EED}"/>
                </a:ext>
              </a:extLst>
            </p:cNvPr>
            <p:cNvSpPr/>
            <p:nvPr/>
          </p:nvSpPr>
          <p:spPr>
            <a:xfrm>
              <a:off x="4297185" y="2745782"/>
              <a:ext cx="3130741" cy="3300265"/>
            </a:xfrm>
            <a:custGeom>
              <a:avLst/>
              <a:gdLst>
                <a:gd name="connsiteX0" fmla="*/ 647071 w 3130741"/>
                <a:gd name="connsiteY0" fmla="*/ 2864372 h 3300265"/>
                <a:gd name="connsiteX1" fmla="*/ 1851342 w 3130741"/>
                <a:gd name="connsiteY1" fmla="*/ 3292689 h 3300265"/>
                <a:gd name="connsiteX2" fmla="*/ 2775545 w 3130741"/>
                <a:gd name="connsiteY2" fmla="*/ 2511491 h 3300265"/>
                <a:gd name="connsiteX3" fmla="*/ 3119711 w 3130741"/>
                <a:gd name="connsiteY3" fmla="*/ 1537229 h 3300265"/>
                <a:gd name="connsiteX4" fmla="*/ 2781639 w 3130741"/>
                <a:gd name="connsiteY4" fmla="*/ 253435 h 3300265"/>
                <a:gd name="connsiteX5" fmla="*/ 1435829 w 3130741"/>
                <a:gd name="connsiteY5" fmla="*/ 21729 h 3300265"/>
                <a:gd name="connsiteX6" fmla="*/ 352887 w 3130741"/>
                <a:gd name="connsiteY6" fmla="*/ 622977 h 3300265"/>
                <a:gd name="connsiteX7" fmla="*/ 11267 w 3130741"/>
                <a:gd name="connsiteY7" fmla="*/ 1745873 h 3300265"/>
                <a:gd name="connsiteX8" fmla="*/ 647071 w 3130741"/>
                <a:gd name="connsiteY8" fmla="*/ 2864295 h 330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0741" h="3300265">
                  <a:moveTo>
                    <a:pt x="647071" y="2864372"/>
                  </a:moveTo>
                  <a:cubicBezTo>
                    <a:pt x="972571" y="3111968"/>
                    <a:pt x="1444853" y="3345679"/>
                    <a:pt x="1851342" y="3292689"/>
                  </a:cubicBezTo>
                  <a:cubicBezTo>
                    <a:pt x="2272795" y="3237385"/>
                    <a:pt x="2524556" y="2843624"/>
                    <a:pt x="2775545" y="2511491"/>
                  </a:cubicBezTo>
                  <a:cubicBezTo>
                    <a:pt x="3021907" y="2185529"/>
                    <a:pt x="3174166" y="1943024"/>
                    <a:pt x="3119711" y="1537229"/>
                  </a:cubicBezTo>
                  <a:cubicBezTo>
                    <a:pt x="3063172" y="1115777"/>
                    <a:pt x="3114388" y="503190"/>
                    <a:pt x="2781639" y="253435"/>
                  </a:cubicBezTo>
                  <a:cubicBezTo>
                    <a:pt x="2455059" y="8308"/>
                    <a:pt x="1841007" y="-33884"/>
                    <a:pt x="1435829" y="21729"/>
                  </a:cubicBezTo>
                  <a:cubicBezTo>
                    <a:pt x="1016845" y="78884"/>
                    <a:pt x="601640" y="292464"/>
                    <a:pt x="352887" y="622977"/>
                  </a:cubicBezTo>
                  <a:cubicBezTo>
                    <a:pt x="107297" y="949325"/>
                    <a:pt x="-43651" y="1340387"/>
                    <a:pt x="11267" y="1745873"/>
                  </a:cubicBezTo>
                  <a:cubicBezTo>
                    <a:pt x="67574" y="2162466"/>
                    <a:pt x="319412" y="2615080"/>
                    <a:pt x="647071" y="286429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4" name="Freeform: Shape 1933">
              <a:extLst>
                <a:ext uri="{FF2B5EF4-FFF2-40B4-BE49-F238E27FC236}">
                  <a16:creationId xmlns:a16="http://schemas.microsoft.com/office/drawing/2014/main" id="{897FB35B-04B5-5D8A-D962-3DA78211FC1E}"/>
                </a:ext>
              </a:extLst>
            </p:cNvPr>
            <p:cNvSpPr/>
            <p:nvPr/>
          </p:nvSpPr>
          <p:spPr>
            <a:xfrm>
              <a:off x="4331073" y="2769810"/>
              <a:ext cx="3129679" cy="3263042"/>
            </a:xfrm>
            <a:custGeom>
              <a:avLst/>
              <a:gdLst>
                <a:gd name="connsiteX0" fmla="*/ 621899 w 3129679"/>
                <a:gd name="connsiteY0" fmla="*/ 2874051 h 3263042"/>
                <a:gd name="connsiteX1" fmla="*/ 1824782 w 3129679"/>
                <a:gd name="connsiteY1" fmla="*/ 3254546 h 3263042"/>
                <a:gd name="connsiteX2" fmla="*/ 2728544 w 3129679"/>
                <a:gd name="connsiteY2" fmla="*/ 2445116 h 3263042"/>
                <a:gd name="connsiteX3" fmla="*/ 3121380 w 3129679"/>
                <a:gd name="connsiteY3" fmla="*/ 1514281 h 3263042"/>
                <a:gd name="connsiteX4" fmla="*/ 2731090 w 3129679"/>
                <a:gd name="connsiteY4" fmla="*/ 176262 h 3263042"/>
                <a:gd name="connsiteX5" fmla="*/ 1402404 w 3129679"/>
                <a:gd name="connsiteY5" fmla="*/ 43363 h 3263042"/>
                <a:gd name="connsiteX6" fmla="*/ 273877 w 3129679"/>
                <a:gd name="connsiteY6" fmla="*/ 578045 h 3263042"/>
                <a:gd name="connsiteX7" fmla="*/ 16177 w 3129679"/>
                <a:gd name="connsiteY7" fmla="*/ 1715134 h 3263042"/>
                <a:gd name="connsiteX8" fmla="*/ 621899 w 3129679"/>
                <a:gd name="connsiteY8" fmla="*/ 2874205 h 32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9679" h="3263042">
                  <a:moveTo>
                    <a:pt x="621899" y="2874051"/>
                  </a:moveTo>
                  <a:cubicBezTo>
                    <a:pt x="941999" y="3108842"/>
                    <a:pt x="1424618" y="3306996"/>
                    <a:pt x="1824782" y="3254546"/>
                  </a:cubicBezTo>
                  <a:cubicBezTo>
                    <a:pt x="2258421" y="3197313"/>
                    <a:pt x="2479637" y="2787277"/>
                    <a:pt x="2728544" y="2445116"/>
                  </a:cubicBezTo>
                  <a:cubicBezTo>
                    <a:pt x="2961485" y="2124939"/>
                    <a:pt x="3174833" y="1913056"/>
                    <a:pt x="3121380" y="1514281"/>
                  </a:cubicBezTo>
                  <a:cubicBezTo>
                    <a:pt x="3063145" y="1079947"/>
                    <a:pt x="3074561" y="424089"/>
                    <a:pt x="2731090" y="176262"/>
                  </a:cubicBezTo>
                  <a:cubicBezTo>
                    <a:pt x="2410681" y="-54982"/>
                    <a:pt x="1800022" y="-10939"/>
                    <a:pt x="1402404" y="43363"/>
                  </a:cubicBezTo>
                  <a:cubicBezTo>
                    <a:pt x="970384" y="102060"/>
                    <a:pt x="521009" y="236734"/>
                    <a:pt x="273877" y="578045"/>
                  </a:cubicBezTo>
                  <a:cubicBezTo>
                    <a:pt x="41862" y="898377"/>
                    <a:pt x="-37739" y="1316898"/>
                    <a:pt x="16177" y="1715134"/>
                  </a:cubicBezTo>
                  <a:cubicBezTo>
                    <a:pt x="74026" y="2144068"/>
                    <a:pt x="284289" y="2626532"/>
                    <a:pt x="621899" y="287420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5" name="Freeform: Shape 1934">
              <a:extLst>
                <a:ext uri="{FF2B5EF4-FFF2-40B4-BE49-F238E27FC236}">
                  <a16:creationId xmlns:a16="http://schemas.microsoft.com/office/drawing/2014/main" id="{66B2C00B-17E3-8B8B-3C7A-262AD2BD69D6}"/>
                </a:ext>
              </a:extLst>
            </p:cNvPr>
            <p:cNvSpPr/>
            <p:nvPr/>
          </p:nvSpPr>
          <p:spPr>
            <a:xfrm>
              <a:off x="4358871" y="2771233"/>
              <a:ext cx="3135688" cy="3248662"/>
            </a:xfrm>
            <a:custGeom>
              <a:avLst/>
              <a:gdLst>
                <a:gd name="connsiteX0" fmla="*/ 602817 w 3135688"/>
                <a:gd name="connsiteY0" fmla="*/ 2906335 h 3248662"/>
                <a:gd name="connsiteX1" fmla="*/ 1804311 w 3135688"/>
                <a:gd name="connsiteY1" fmla="*/ 3238930 h 3248662"/>
                <a:gd name="connsiteX2" fmla="*/ 2687711 w 3135688"/>
                <a:gd name="connsiteY2" fmla="*/ 2401271 h 3248662"/>
                <a:gd name="connsiteX3" fmla="*/ 3129140 w 3135688"/>
                <a:gd name="connsiteY3" fmla="*/ 1513860 h 3248662"/>
                <a:gd name="connsiteX4" fmla="*/ 2686631 w 3135688"/>
                <a:gd name="connsiteY4" fmla="*/ 121540 h 3248662"/>
                <a:gd name="connsiteX5" fmla="*/ 1375068 w 3135688"/>
                <a:gd name="connsiteY5" fmla="*/ 87448 h 3248662"/>
                <a:gd name="connsiteX6" fmla="*/ 200956 w 3135688"/>
                <a:gd name="connsiteY6" fmla="*/ 555488 h 3248662"/>
                <a:gd name="connsiteX7" fmla="*/ 27099 w 3135688"/>
                <a:gd name="connsiteY7" fmla="*/ 1706769 h 3248662"/>
                <a:gd name="connsiteX8" fmla="*/ 602817 w 3135688"/>
                <a:gd name="connsiteY8" fmla="*/ 2906412 h 324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5688" h="3248662">
                  <a:moveTo>
                    <a:pt x="602817" y="2906335"/>
                  </a:moveTo>
                  <a:cubicBezTo>
                    <a:pt x="917441" y="3128631"/>
                    <a:pt x="1410472" y="3290840"/>
                    <a:pt x="1804311" y="3238930"/>
                  </a:cubicBezTo>
                  <a:cubicBezTo>
                    <a:pt x="2250214" y="3179847"/>
                    <a:pt x="2441195" y="2753612"/>
                    <a:pt x="2687711" y="2401271"/>
                  </a:cubicBezTo>
                  <a:cubicBezTo>
                    <a:pt x="2907538" y="2087032"/>
                    <a:pt x="3181668" y="1905617"/>
                    <a:pt x="3129140" y="1513860"/>
                  </a:cubicBezTo>
                  <a:cubicBezTo>
                    <a:pt x="3069209" y="1066646"/>
                    <a:pt x="3040978" y="367208"/>
                    <a:pt x="2686631" y="121540"/>
                  </a:cubicBezTo>
                  <a:cubicBezTo>
                    <a:pt x="2372624" y="-96128"/>
                    <a:pt x="1765128" y="34381"/>
                    <a:pt x="1375068" y="87448"/>
                  </a:cubicBezTo>
                  <a:cubicBezTo>
                    <a:pt x="930013" y="147688"/>
                    <a:pt x="446083" y="203301"/>
                    <a:pt x="200956" y="555488"/>
                  </a:cubicBezTo>
                  <a:cubicBezTo>
                    <a:pt x="-17715" y="869649"/>
                    <a:pt x="-25660" y="1315784"/>
                    <a:pt x="27099" y="1706769"/>
                  </a:cubicBezTo>
                  <a:cubicBezTo>
                    <a:pt x="86568" y="2148122"/>
                    <a:pt x="255026" y="2660667"/>
                    <a:pt x="602817" y="290641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6" name="Freeform: Shape 1935">
              <a:extLst>
                <a:ext uri="{FF2B5EF4-FFF2-40B4-BE49-F238E27FC236}">
                  <a16:creationId xmlns:a16="http://schemas.microsoft.com/office/drawing/2014/main" id="{C3C6543B-96B5-2E18-01B2-F79A9EFD36D2}"/>
                </a:ext>
              </a:extLst>
            </p:cNvPr>
            <p:cNvSpPr/>
            <p:nvPr/>
          </p:nvSpPr>
          <p:spPr>
            <a:xfrm>
              <a:off x="4372952" y="2753381"/>
              <a:ext cx="3156027" cy="3254119"/>
            </a:xfrm>
            <a:custGeom>
              <a:avLst/>
              <a:gdLst>
                <a:gd name="connsiteX0" fmla="*/ 597452 w 3156027"/>
                <a:gd name="connsiteY0" fmla="*/ 2957894 h 3254119"/>
                <a:gd name="connsiteX1" fmla="*/ 1797558 w 3156027"/>
                <a:gd name="connsiteY1" fmla="*/ 3242667 h 3254119"/>
                <a:gd name="connsiteX2" fmla="*/ 2660594 w 3156027"/>
                <a:gd name="connsiteY2" fmla="*/ 2376700 h 3254119"/>
                <a:gd name="connsiteX3" fmla="*/ 3150695 w 3156027"/>
                <a:gd name="connsiteY3" fmla="*/ 1532638 h 3254119"/>
                <a:gd name="connsiteX4" fmla="*/ 2655966 w 3156027"/>
                <a:gd name="connsiteY4" fmla="*/ 86017 h 3254119"/>
                <a:gd name="connsiteX5" fmla="*/ 1361450 w 3156027"/>
                <a:gd name="connsiteY5" fmla="*/ 150654 h 3254119"/>
                <a:gd name="connsiteX6" fmla="*/ 141752 w 3156027"/>
                <a:gd name="connsiteY6" fmla="*/ 552129 h 3254119"/>
                <a:gd name="connsiteX7" fmla="*/ 51738 w 3156027"/>
                <a:gd name="connsiteY7" fmla="*/ 1717602 h 3254119"/>
                <a:gd name="connsiteX8" fmla="*/ 597374 w 3156027"/>
                <a:gd name="connsiteY8" fmla="*/ 2957816 h 325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027" h="3254119">
                  <a:moveTo>
                    <a:pt x="597452" y="2957894"/>
                  </a:moveTo>
                  <a:cubicBezTo>
                    <a:pt x="906445" y="3167925"/>
                    <a:pt x="1410044" y="3294037"/>
                    <a:pt x="1797558" y="3242667"/>
                  </a:cubicBezTo>
                  <a:cubicBezTo>
                    <a:pt x="2255648" y="3181732"/>
                    <a:pt x="2416778" y="2739608"/>
                    <a:pt x="2660594" y="2376700"/>
                  </a:cubicBezTo>
                  <a:cubicBezTo>
                    <a:pt x="2867541" y="2068555"/>
                    <a:pt x="3202297" y="1917452"/>
                    <a:pt x="3150695" y="1532638"/>
                  </a:cubicBezTo>
                  <a:cubicBezTo>
                    <a:pt x="3088989" y="1072542"/>
                    <a:pt x="3021574" y="329061"/>
                    <a:pt x="2655966" y="86017"/>
                  </a:cubicBezTo>
                  <a:cubicBezTo>
                    <a:pt x="2348516" y="-118385"/>
                    <a:pt x="1744028" y="98898"/>
                    <a:pt x="1361450" y="150654"/>
                  </a:cubicBezTo>
                  <a:cubicBezTo>
                    <a:pt x="903359" y="212437"/>
                    <a:pt x="384566" y="188680"/>
                    <a:pt x="141752" y="552129"/>
                  </a:cubicBezTo>
                  <a:cubicBezTo>
                    <a:pt x="-63883" y="859965"/>
                    <a:pt x="60" y="1333867"/>
                    <a:pt x="51738" y="1717602"/>
                  </a:cubicBezTo>
                  <a:cubicBezTo>
                    <a:pt x="112750" y="2171296"/>
                    <a:pt x="239248" y="2714386"/>
                    <a:pt x="597374" y="2957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7" name="Freeform: Shape 1936">
              <a:extLst>
                <a:ext uri="{FF2B5EF4-FFF2-40B4-BE49-F238E27FC236}">
                  <a16:creationId xmlns:a16="http://schemas.microsoft.com/office/drawing/2014/main" id="{349E4580-3189-E76C-5B15-4662F9288B79}"/>
                </a:ext>
              </a:extLst>
            </p:cNvPr>
            <p:cNvSpPr/>
            <p:nvPr/>
          </p:nvSpPr>
          <p:spPr>
            <a:xfrm>
              <a:off x="4369454" y="2723578"/>
              <a:ext cx="3194199" cy="3272228"/>
            </a:xfrm>
            <a:custGeom>
              <a:avLst/>
              <a:gdLst>
                <a:gd name="connsiteX0" fmla="*/ 609666 w 3194199"/>
                <a:gd name="connsiteY0" fmla="*/ 3021327 h 3272228"/>
                <a:gd name="connsiteX1" fmla="*/ 1808461 w 3194199"/>
                <a:gd name="connsiteY1" fmla="*/ 3258278 h 3272228"/>
                <a:gd name="connsiteX2" fmla="*/ 2651057 w 3194199"/>
                <a:gd name="connsiteY2" fmla="*/ 2364080 h 3272228"/>
                <a:gd name="connsiteX3" fmla="*/ 3189751 w 3194199"/>
                <a:gd name="connsiteY3" fmla="*/ 1563444 h 3272228"/>
                <a:gd name="connsiteX4" fmla="*/ 2642804 w 3194199"/>
                <a:gd name="connsiteY4" fmla="*/ 62522 h 3272228"/>
                <a:gd name="connsiteX5" fmla="*/ 1365411 w 3194199"/>
                <a:gd name="connsiteY5" fmla="*/ 225965 h 3272228"/>
                <a:gd name="connsiteX6" fmla="*/ 100128 w 3194199"/>
                <a:gd name="connsiteY6" fmla="*/ 560798 h 3272228"/>
                <a:gd name="connsiteX7" fmla="*/ 94034 w 3194199"/>
                <a:gd name="connsiteY7" fmla="*/ 1740540 h 3272228"/>
                <a:gd name="connsiteX8" fmla="*/ 609589 w 3194199"/>
                <a:gd name="connsiteY8" fmla="*/ 3021327 h 327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199" h="3272228">
                  <a:moveTo>
                    <a:pt x="609666" y="3021327"/>
                  </a:moveTo>
                  <a:cubicBezTo>
                    <a:pt x="912874" y="3219326"/>
                    <a:pt x="1427194" y="3309031"/>
                    <a:pt x="1808461" y="3258278"/>
                  </a:cubicBezTo>
                  <a:cubicBezTo>
                    <a:pt x="2278815" y="3195492"/>
                    <a:pt x="2410481" y="2737710"/>
                    <a:pt x="2651057" y="2364080"/>
                  </a:cubicBezTo>
                  <a:cubicBezTo>
                    <a:pt x="2845431" y="2062183"/>
                    <a:pt x="3240427" y="1941240"/>
                    <a:pt x="3189751" y="1563444"/>
                  </a:cubicBezTo>
                  <a:cubicBezTo>
                    <a:pt x="3126348" y="1090390"/>
                    <a:pt x="3019828" y="302481"/>
                    <a:pt x="2642804" y="62522"/>
                  </a:cubicBezTo>
                  <a:cubicBezTo>
                    <a:pt x="2342064" y="-128844"/>
                    <a:pt x="1740430" y="175444"/>
                    <a:pt x="1365411" y="225965"/>
                  </a:cubicBezTo>
                  <a:cubicBezTo>
                    <a:pt x="894285" y="289291"/>
                    <a:pt x="340087" y="185934"/>
                    <a:pt x="100128" y="560798"/>
                  </a:cubicBezTo>
                  <a:cubicBezTo>
                    <a:pt x="-92781" y="862155"/>
                    <a:pt x="43435" y="1364056"/>
                    <a:pt x="94034" y="1740540"/>
                  </a:cubicBezTo>
                  <a:cubicBezTo>
                    <a:pt x="156589" y="2206653"/>
                    <a:pt x="240972" y="2780596"/>
                    <a:pt x="609589" y="302132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38" name="Freeform: Shape 1937">
              <a:extLst>
                <a:ext uri="{FF2B5EF4-FFF2-40B4-BE49-F238E27FC236}">
                  <a16:creationId xmlns:a16="http://schemas.microsoft.com/office/drawing/2014/main" id="{0FEF146E-8D95-ED2A-69A1-91D041D0E0A3}"/>
                </a:ext>
              </a:extLst>
            </p:cNvPr>
            <p:cNvSpPr/>
            <p:nvPr/>
          </p:nvSpPr>
          <p:spPr>
            <a:xfrm>
              <a:off x="4352455" y="2686397"/>
              <a:ext cx="3246150" cy="3299210"/>
            </a:xfrm>
            <a:custGeom>
              <a:avLst/>
              <a:gdLst>
                <a:gd name="connsiteX0" fmla="*/ 1832787 w 3246150"/>
                <a:gd name="connsiteY0" fmla="*/ 3281344 h 3299210"/>
                <a:gd name="connsiteX1" fmla="*/ 2655021 w 3246150"/>
                <a:gd name="connsiteY1" fmla="*/ 2358915 h 3299210"/>
                <a:gd name="connsiteX2" fmla="*/ 3242385 w 3246150"/>
                <a:gd name="connsiteY2" fmla="*/ 1601628 h 3299210"/>
                <a:gd name="connsiteX3" fmla="*/ 2643296 w 3246150"/>
                <a:gd name="connsiteY3" fmla="*/ 46404 h 3299210"/>
                <a:gd name="connsiteX4" fmla="*/ 1383027 w 3246150"/>
                <a:gd name="connsiteY4" fmla="*/ 308655 h 3299210"/>
                <a:gd name="connsiteX5" fmla="*/ 72158 w 3246150"/>
                <a:gd name="connsiteY5" fmla="*/ 576844 h 3299210"/>
                <a:gd name="connsiteX6" fmla="*/ 149908 w 3246150"/>
                <a:gd name="connsiteY6" fmla="*/ 1770779 h 3299210"/>
                <a:gd name="connsiteX7" fmla="*/ 635458 w 3246150"/>
                <a:gd name="connsiteY7" fmla="*/ 3092214 h 3299210"/>
                <a:gd name="connsiteX8" fmla="*/ 1832864 w 3246150"/>
                <a:gd name="connsiteY8" fmla="*/ 3281266 h 3299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6150" h="3299210">
                  <a:moveTo>
                    <a:pt x="1832787" y="3281344"/>
                  </a:moveTo>
                  <a:cubicBezTo>
                    <a:pt x="2315329" y="3216707"/>
                    <a:pt x="2418069" y="2743421"/>
                    <a:pt x="2655021" y="2358915"/>
                  </a:cubicBezTo>
                  <a:cubicBezTo>
                    <a:pt x="2837131" y="2063420"/>
                    <a:pt x="3292059" y="1972558"/>
                    <a:pt x="3242385" y="1601628"/>
                  </a:cubicBezTo>
                  <a:cubicBezTo>
                    <a:pt x="3177285" y="1115693"/>
                    <a:pt x="3031967" y="282661"/>
                    <a:pt x="2643296" y="46404"/>
                  </a:cubicBezTo>
                  <a:cubicBezTo>
                    <a:pt x="2349344" y="-132312"/>
                    <a:pt x="1750487" y="259367"/>
                    <a:pt x="1383027" y="308655"/>
                  </a:cubicBezTo>
                  <a:cubicBezTo>
                    <a:pt x="898866" y="373523"/>
                    <a:pt x="308801" y="190333"/>
                    <a:pt x="72158" y="576844"/>
                  </a:cubicBezTo>
                  <a:cubicBezTo>
                    <a:pt x="-108255" y="871568"/>
                    <a:pt x="100466" y="1401546"/>
                    <a:pt x="149908" y="1770779"/>
                  </a:cubicBezTo>
                  <a:cubicBezTo>
                    <a:pt x="214005" y="2249233"/>
                    <a:pt x="255965" y="2854492"/>
                    <a:pt x="635458" y="3092214"/>
                  </a:cubicBezTo>
                  <a:cubicBezTo>
                    <a:pt x="932804" y="3278490"/>
                    <a:pt x="1457845" y="3331557"/>
                    <a:pt x="1832864" y="328126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940AE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50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01" name="Graphic 5">
            <a:extLst>
              <a:ext uri="{FF2B5EF4-FFF2-40B4-BE49-F238E27FC236}">
                <a16:creationId xmlns:a16="http://schemas.microsoft.com/office/drawing/2014/main" id="{17A7CA2E-083E-D1EB-C7E3-7C1EBCB7E5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6012618">
            <a:off x="-207046" y="456467"/>
            <a:ext cx="2751768" cy="2684081"/>
            <a:chOff x="4270587" y="2574268"/>
            <a:chExt cx="3544376" cy="3457192"/>
          </a:xfrm>
          <a:noFill/>
        </p:grpSpPr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71570271-7E85-22CB-95A0-17791E62FA05}"/>
                </a:ext>
              </a:extLst>
            </p:cNvPr>
            <p:cNvSpPr/>
            <p:nvPr/>
          </p:nvSpPr>
          <p:spPr>
            <a:xfrm>
              <a:off x="4270587" y="2606803"/>
              <a:ext cx="3544376" cy="3424657"/>
            </a:xfrm>
            <a:custGeom>
              <a:avLst/>
              <a:gdLst>
                <a:gd name="connsiteX0" fmla="*/ 3338832 w 3544376"/>
                <a:gd name="connsiteY0" fmla="*/ 932573 h 3424657"/>
                <a:gd name="connsiteX1" fmla="*/ 2419102 w 3544376"/>
                <a:gd name="connsiteY1" fmla="*/ 117205 h 3424657"/>
                <a:gd name="connsiteX2" fmla="*/ 1318575 w 3544376"/>
                <a:gd name="connsiteY2" fmla="*/ 80027 h 3424657"/>
                <a:gd name="connsiteX3" fmla="*/ 8709 w 3544376"/>
                <a:gd name="connsiteY3" fmla="*/ 1110518 h 3424657"/>
                <a:gd name="connsiteX4" fmla="*/ 630398 w 3544376"/>
                <a:gd name="connsiteY4" fmla="*/ 2237733 h 3424657"/>
                <a:gd name="connsiteX5" fmla="*/ 1272758 w 3544376"/>
                <a:gd name="connsiteY5" fmla="*/ 3411536 h 3424657"/>
                <a:gd name="connsiteX6" fmla="*/ 2390872 w 3544376"/>
                <a:gd name="connsiteY6" fmla="*/ 2985687 h 3424657"/>
                <a:gd name="connsiteX7" fmla="*/ 3510760 w 3544376"/>
                <a:gd name="connsiteY7" fmla="*/ 2132601 h 3424657"/>
                <a:gd name="connsiteX8" fmla="*/ 3338908 w 3544376"/>
                <a:gd name="connsiteY8" fmla="*/ 932650 h 342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4376" h="3424657">
                  <a:moveTo>
                    <a:pt x="3338832" y="932573"/>
                  </a:moveTo>
                  <a:cubicBezTo>
                    <a:pt x="3134970" y="490449"/>
                    <a:pt x="2856290" y="230435"/>
                    <a:pt x="2419102" y="117205"/>
                  </a:cubicBezTo>
                  <a:cubicBezTo>
                    <a:pt x="2083036" y="30199"/>
                    <a:pt x="1658344" y="-76630"/>
                    <a:pt x="1318575" y="80027"/>
                  </a:cubicBezTo>
                  <a:cubicBezTo>
                    <a:pt x="873365" y="285354"/>
                    <a:pt x="120088" y="669551"/>
                    <a:pt x="8709" y="1110518"/>
                  </a:cubicBezTo>
                  <a:cubicBezTo>
                    <a:pt x="-75520" y="1444039"/>
                    <a:pt x="475130" y="1900972"/>
                    <a:pt x="630398" y="2237733"/>
                  </a:cubicBezTo>
                  <a:cubicBezTo>
                    <a:pt x="834953" y="2681323"/>
                    <a:pt x="833642" y="3299231"/>
                    <a:pt x="1272758" y="3411536"/>
                  </a:cubicBezTo>
                  <a:cubicBezTo>
                    <a:pt x="1607591" y="3497153"/>
                    <a:pt x="2052568" y="3141650"/>
                    <a:pt x="2390872" y="2985687"/>
                  </a:cubicBezTo>
                  <a:cubicBezTo>
                    <a:pt x="2829217" y="2783523"/>
                    <a:pt x="3395293" y="2565161"/>
                    <a:pt x="3510760" y="2132601"/>
                  </a:cubicBezTo>
                  <a:cubicBezTo>
                    <a:pt x="3601236" y="1793527"/>
                    <a:pt x="3497339" y="1276198"/>
                    <a:pt x="3338908" y="93265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6BAA0D3A-232B-BF66-76B0-343565998A29}"/>
                </a:ext>
              </a:extLst>
            </p:cNvPr>
            <p:cNvSpPr/>
            <p:nvPr/>
          </p:nvSpPr>
          <p:spPr>
            <a:xfrm>
              <a:off x="4311149" y="2610445"/>
              <a:ext cx="3481515" cy="3380560"/>
            </a:xfrm>
            <a:custGeom>
              <a:avLst/>
              <a:gdLst>
                <a:gd name="connsiteX0" fmla="*/ 2384788 w 3481515"/>
                <a:gd name="connsiteY0" fmla="*/ 2986674 h 3380560"/>
                <a:gd name="connsiteX1" fmla="*/ 3435796 w 3481515"/>
                <a:gd name="connsiteY1" fmla="*/ 2123946 h 3380560"/>
                <a:gd name="connsiteX2" fmla="*/ 3309068 w 3481515"/>
                <a:gd name="connsiteY2" fmla="*/ 911268 h 3380560"/>
                <a:gd name="connsiteX3" fmla="*/ 2359797 w 3481515"/>
                <a:gd name="connsiteY3" fmla="*/ 156988 h 3380560"/>
                <a:gd name="connsiteX4" fmla="*/ 1222399 w 3481515"/>
                <a:gd name="connsiteY4" fmla="*/ 71757 h 3380560"/>
                <a:gd name="connsiteX5" fmla="*/ 10492 w 3481515"/>
                <a:gd name="connsiteY5" fmla="*/ 1123691 h 3380560"/>
                <a:gd name="connsiteX6" fmla="*/ 573097 w 3481515"/>
                <a:gd name="connsiteY6" fmla="*/ 2302662 h 3380560"/>
                <a:gd name="connsiteX7" fmla="*/ 1256646 w 3481515"/>
                <a:gd name="connsiteY7" fmla="*/ 3364546 h 3380560"/>
                <a:gd name="connsiteX8" fmla="*/ 2384788 w 3481515"/>
                <a:gd name="connsiteY8" fmla="*/ 2986674 h 338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1515" h="3380560">
                  <a:moveTo>
                    <a:pt x="2384788" y="2986674"/>
                  </a:moveTo>
                  <a:cubicBezTo>
                    <a:pt x="2808400" y="2782658"/>
                    <a:pt x="3322257" y="2550489"/>
                    <a:pt x="3435796" y="2123946"/>
                  </a:cubicBezTo>
                  <a:cubicBezTo>
                    <a:pt x="3529127" y="1772916"/>
                    <a:pt x="3475983" y="1257439"/>
                    <a:pt x="3309068" y="911268"/>
                  </a:cubicBezTo>
                  <a:cubicBezTo>
                    <a:pt x="3103355" y="484725"/>
                    <a:pt x="2790197" y="268368"/>
                    <a:pt x="2359797" y="156988"/>
                  </a:cubicBezTo>
                  <a:cubicBezTo>
                    <a:pt x="2011157" y="66743"/>
                    <a:pt x="1565254" y="-93770"/>
                    <a:pt x="1222399" y="71757"/>
                  </a:cubicBezTo>
                  <a:cubicBezTo>
                    <a:pt x="793465" y="278935"/>
                    <a:pt x="120175" y="690129"/>
                    <a:pt x="10492" y="1123691"/>
                  </a:cubicBezTo>
                  <a:cubicBezTo>
                    <a:pt x="-77208" y="1469862"/>
                    <a:pt x="408959" y="1962662"/>
                    <a:pt x="573097" y="2302662"/>
                  </a:cubicBezTo>
                  <a:cubicBezTo>
                    <a:pt x="779581" y="2730362"/>
                    <a:pt x="824704" y="3254015"/>
                    <a:pt x="1256646" y="3364546"/>
                  </a:cubicBezTo>
                  <a:cubicBezTo>
                    <a:pt x="1603512" y="3453403"/>
                    <a:pt x="2043630" y="3150966"/>
                    <a:pt x="2384788" y="298667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3532CDC8-3A89-BD79-2D04-2E087DB9A1FD}"/>
                </a:ext>
              </a:extLst>
            </p:cNvPr>
            <p:cNvSpPr/>
            <p:nvPr/>
          </p:nvSpPr>
          <p:spPr>
            <a:xfrm>
              <a:off x="4351228" y="2611075"/>
              <a:ext cx="3424905" cy="3340311"/>
            </a:xfrm>
            <a:custGeom>
              <a:avLst/>
              <a:gdLst>
                <a:gd name="connsiteX0" fmla="*/ 2379187 w 3424905"/>
                <a:gd name="connsiteY0" fmla="*/ 2990672 h 3340311"/>
                <a:gd name="connsiteX1" fmla="*/ 3361317 w 3424905"/>
                <a:gd name="connsiteY1" fmla="*/ 2118303 h 3340311"/>
                <a:gd name="connsiteX2" fmla="*/ 3279788 w 3424905"/>
                <a:gd name="connsiteY2" fmla="*/ 892974 h 3340311"/>
                <a:gd name="connsiteX3" fmla="*/ 2300975 w 3424905"/>
                <a:gd name="connsiteY3" fmla="*/ 199707 h 3340311"/>
                <a:gd name="connsiteX4" fmla="*/ 1126708 w 3424905"/>
                <a:gd name="connsiteY4" fmla="*/ 66422 h 3340311"/>
                <a:gd name="connsiteX5" fmla="*/ 12759 w 3424905"/>
                <a:gd name="connsiteY5" fmla="*/ 1139722 h 3340311"/>
                <a:gd name="connsiteX6" fmla="*/ 516204 w 3424905"/>
                <a:gd name="connsiteY6" fmla="*/ 2370449 h 3340311"/>
                <a:gd name="connsiteX7" fmla="*/ 1241019 w 3424905"/>
                <a:gd name="connsiteY7" fmla="*/ 3320491 h 3340311"/>
                <a:gd name="connsiteX8" fmla="*/ 2379265 w 3424905"/>
                <a:gd name="connsiteY8" fmla="*/ 2990594 h 334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4905" h="3340311">
                  <a:moveTo>
                    <a:pt x="2379187" y="2990672"/>
                  </a:moveTo>
                  <a:cubicBezTo>
                    <a:pt x="2788222" y="2785113"/>
                    <a:pt x="3249628" y="2538829"/>
                    <a:pt x="3361317" y="2118303"/>
                  </a:cubicBezTo>
                  <a:cubicBezTo>
                    <a:pt x="3457501" y="1755239"/>
                    <a:pt x="3455341" y="1241614"/>
                    <a:pt x="3279788" y="892974"/>
                  </a:cubicBezTo>
                  <a:cubicBezTo>
                    <a:pt x="3072686" y="481781"/>
                    <a:pt x="2724587" y="309389"/>
                    <a:pt x="2300975" y="199707"/>
                  </a:cubicBezTo>
                  <a:cubicBezTo>
                    <a:pt x="1939763" y="106145"/>
                    <a:pt x="1472571" y="-108206"/>
                    <a:pt x="1126708" y="66422"/>
                  </a:cubicBezTo>
                  <a:cubicBezTo>
                    <a:pt x="713895" y="274988"/>
                    <a:pt x="120745" y="713641"/>
                    <a:pt x="12759" y="1139722"/>
                  </a:cubicBezTo>
                  <a:cubicBezTo>
                    <a:pt x="-78411" y="1498619"/>
                    <a:pt x="342964" y="2027286"/>
                    <a:pt x="516204" y="2370449"/>
                  </a:cubicBezTo>
                  <a:cubicBezTo>
                    <a:pt x="724076" y="2782414"/>
                    <a:pt x="816250" y="3211657"/>
                    <a:pt x="1241019" y="3320491"/>
                  </a:cubicBezTo>
                  <a:cubicBezTo>
                    <a:pt x="1599917" y="3412587"/>
                    <a:pt x="2035176" y="3163449"/>
                    <a:pt x="2379265" y="299059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911D2AF3-96D9-EF25-0A2D-CD7A644236B2}"/>
                </a:ext>
              </a:extLst>
            </p:cNvPr>
            <p:cNvSpPr/>
            <p:nvPr/>
          </p:nvSpPr>
          <p:spPr>
            <a:xfrm>
              <a:off x="4390546" y="2609845"/>
              <a:ext cx="3375801" cy="3303429"/>
            </a:xfrm>
            <a:custGeom>
              <a:avLst/>
              <a:gdLst>
                <a:gd name="connsiteX0" fmla="*/ 2374347 w 3375801"/>
                <a:gd name="connsiteY0" fmla="*/ 2996529 h 3303429"/>
                <a:gd name="connsiteX1" fmla="*/ 3287597 w 3375801"/>
                <a:gd name="connsiteY1" fmla="*/ 2114518 h 3303429"/>
                <a:gd name="connsiteX2" fmla="*/ 3251191 w 3375801"/>
                <a:gd name="connsiteY2" fmla="*/ 876541 h 3303429"/>
                <a:gd name="connsiteX3" fmla="*/ 2242836 w 3375801"/>
                <a:gd name="connsiteY3" fmla="*/ 244285 h 3303429"/>
                <a:gd name="connsiteX4" fmla="*/ 1031700 w 3375801"/>
                <a:gd name="connsiteY4" fmla="*/ 62946 h 3303429"/>
                <a:gd name="connsiteX5" fmla="*/ 15710 w 3375801"/>
                <a:gd name="connsiteY5" fmla="*/ 1157689 h 3303429"/>
                <a:gd name="connsiteX6" fmla="*/ 459993 w 3375801"/>
                <a:gd name="connsiteY6" fmla="*/ 2440249 h 3303429"/>
                <a:gd name="connsiteX7" fmla="*/ 1226074 w 3375801"/>
                <a:gd name="connsiteY7" fmla="*/ 3278449 h 3303429"/>
                <a:gd name="connsiteX8" fmla="*/ 2374347 w 3375801"/>
                <a:gd name="connsiteY8" fmla="*/ 2996529 h 33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5801" h="3303429">
                  <a:moveTo>
                    <a:pt x="2374347" y="2996529"/>
                  </a:moveTo>
                  <a:cubicBezTo>
                    <a:pt x="2768881" y="2789891"/>
                    <a:pt x="3177760" y="2529029"/>
                    <a:pt x="3287597" y="2114518"/>
                  </a:cubicBezTo>
                  <a:cubicBezTo>
                    <a:pt x="3386712" y="1739423"/>
                    <a:pt x="3435692" y="1227571"/>
                    <a:pt x="3251191" y="876541"/>
                  </a:cubicBezTo>
                  <a:cubicBezTo>
                    <a:pt x="3043087" y="480619"/>
                    <a:pt x="2659584" y="352193"/>
                    <a:pt x="2242836" y="244285"/>
                  </a:cubicBezTo>
                  <a:cubicBezTo>
                    <a:pt x="1869052" y="147483"/>
                    <a:pt x="1380494" y="-121092"/>
                    <a:pt x="1031700" y="62946"/>
                  </a:cubicBezTo>
                  <a:cubicBezTo>
                    <a:pt x="634776" y="272438"/>
                    <a:pt x="121999" y="739090"/>
                    <a:pt x="15710" y="1157689"/>
                  </a:cubicBezTo>
                  <a:cubicBezTo>
                    <a:pt x="-78932" y="1529236"/>
                    <a:pt x="277421" y="2093847"/>
                    <a:pt x="459993" y="2440249"/>
                  </a:cubicBezTo>
                  <a:cubicBezTo>
                    <a:pt x="668869" y="2836556"/>
                    <a:pt x="808402" y="3171312"/>
                    <a:pt x="1226074" y="3278449"/>
                  </a:cubicBezTo>
                  <a:cubicBezTo>
                    <a:pt x="1597005" y="3373785"/>
                    <a:pt x="2027559" y="3178176"/>
                    <a:pt x="2374347" y="299652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B66247D5-89BB-593C-1438-34B6C9CCC934}"/>
                </a:ext>
              </a:extLst>
            </p:cNvPr>
            <p:cNvSpPr/>
            <p:nvPr/>
          </p:nvSpPr>
          <p:spPr>
            <a:xfrm>
              <a:off x="4428860" y="2607348"/>
              <a:ext cx="3333638" cy="3269772"/>
            </a:xfrm>
            <a:custGeom>
              <a:avLst/>
              <a:gdLst>
                <a:gd name="connsiteX0" fmla="*/ 2370512 w 3333638"/>
                <a:gd name="connsiteY0" fmla="*/ 3003654 h 3269772"/>
                <a:gd name="connsiteX1" fmla="*/ 3214806 w 3333638"/>
                <a:gd name="connsiteY1" fmla="*/ 2112002 h 3269772"/>
                <a:gd name="connsiteX2" fmla="*/ 3223522 w 3333638"/>
                <a:gd name="connsiteY2" fmla="*/ 861297 h 3269772"/>
                <a:gd name="connsiteX3" fmla="*/ 2185625 w 3333638"/>
                <a:gd name="connsiteY3" fmla="*/ 290053 h 3269772"/>
                <a:gd name="connsiteX4" fmla="*/ 937697 w 3333638"/>
                <a:gd name="connsiteY4" fmla="*/ 60738 h 3269772"/>
                <a:gd name="connsiteX5" fmla="*/ 19665 w 3333638"/>
                <a:gd name="connsiteY5" fmla="*/ 1176924 h 3269772"/>
                <a:gd name="connsiteX6" fmla="*/ 404865 w 3333638"/>
                <a:gd name="connsiteY6" fmla="*/ 2511240 h 3269772"/>
                <a:gd name="connsiteX7" fmla="*/ 1212212 w 3333638"/>
                <a:gd name="connsiteY7" fmla="*/ 3237597 h 3269772"/>
                <a:gd name="connsiteX8" fmla="*/ 2370512 w 3333638"/>
                <a:gd name="connsiteY8" fmla="*/ 3003654 h 326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638" h="3269772">
                  <a:moveTo>
                    <a:pt x="2370512" y="3003654"/>
                  </a:moveTo>
                  <a:cubicBezTo>
                    <a:pt x="2750699" y="2796245"/>
                    <a:pt x="3106897" y="2520419"/>
                    <a:pt x="3214806" y="2112002"/>
                  </a:cubicBezTo>
                  <a:cubicBezTo>
                    <a:pt x="3316775" y="1724873"/>
                    <a:pt x="3417279" y="1214719"/>
                    <a:pt x="3223522" y="861297"/>
                  </a:cubicBezTo>
                  <a:cubicBezTo>
                    <a:pt x="3014800" y="480494"/>
                    <a:pt x="2595585" y="396265"/>
                    <a:pt x="2185625" y="290053"/>
                  </a:cubicBezTo>
                  <a:cubicBezTo>
                    <a:pt x="1799191" y="189935"/>
                    <a:pt x="1289268" y="-133019"/>
                    <a:pt x="937697" y="60738"/>
                  </a:cubicBezTo>
                  <a:cubicBezTo>
                    <a:pt x="556508" y="270770"/>
                    <a:pt x="124334" y="765730"/>
                    <a:pt x="19665" y="1176924"/>
                  </a:cubicBezTo>
                  <a:cubicBezTo>
                    <a:pt x="-78448" y="1561121"/>
                    <a:pt x="212651" y="2161829"/>
                    <a:pt x="404865" y="2511240"/>
                  </a:cubicBezTo>
                  <a:cubicBezTo>
                    <a:pt x="614357" y="2892120"/>
                    <a:pt x="801635" y="3132157"/>
                    <a:pt x="1212212" y="3237597"/>
                  </a:cubicBezTo>
                  <a:cubicBezTo>
                    <a:pt x="1595175" y="3336095"/>
                    <a:pt x="2021102" y="3194326"/>
                    <a:pt x="2370512" y="300365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0" name="Freeform: Shape 1919">
              <a:extLst>
                <a:ext uri="{FF2B5EF4-FFF2-40B4-BE49-F238E27FC236}">
                  <a16:creationId xmlns:a16="http://schemas.microsoft.com/office/drawing/2014/main" id="{A57753AE-6068-840A-7553-F8F96266235C}"/>
                </a:ext>
              </a:extLst>
            </p:cNvPr>
            <p:cNvSpPr/>
            <p:nvPr/>
          </p:nvSpPr>
          <p:spPr>
            <a:xfrm>
              <a:off x="4465597" y="2604029"/>
              <a:ext cx="3297610" cy="3240257"/>
            </a:xfrm>
            <a:custGeom>
              <a:avLst/>
              <a:gdLst>
                <a:gd name="connsiteX0" fmla="*/ 2368253 w 3297610"/>
                <a:gd name="connsiteY0" fmla="*/ 3011601 h 3240257"/>
                <a:gd name="connsiteX1" fmla="*/ 3143667 w 3297610"/>
                <a:gd name="connsiteY1" fmla="*/ 2110307 h 3240257"/>
                <a:gd name="connsiteX2" fmla="*/ 3197583 w 3297610"/>
                <a:gd name="connsiteY2" fmla="*/ 846953 h 3240257"/>
                <a:gd name="connsiteX3" fmla="*/ 2130145 w 3297610"/>
                <a:gd name="connsiteY3" fmla="*/ 336721 h 3240257"/>
                <a:gd name="connsiteX4" fmla="*/ 845347 w 3297610"/>
                <a:gd name="connsiteY4" fmla="*/ 59352 h 3240257"/>
                <a:gd name="connsiteX5" fmla="*/ 25197 w 3297610"/>
                <a:gd name="connsiteY5" fmla="*/ 1196981 h 3240257"/>
                <a:gd name="connsiteX6" fmla="*/ 351236 w 3297610"/>
                <a:gd name="connsiteY6" fmla="*/ 2583130 h 3240257"/>
                <a:gd name="connsiteX7" fmla="*/ 1199772 w 3297610"/>
                <a:gd name="connsiteY7" fmla="*/ 3197645 h 3240257"/>
                <a:gd name="connsiteX8" fmla="*/ 2368176 w 3297610"/>
                <a:gd name="connsiteY8" fmla="*/ 3011756 h 324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610" h="3240257">
                  <a:moveTo>
                    <a:pt x="2368253" y="3011601"/>
                  </a:moveTo>
                  <a:cubicBezTo>
                    <a:pt x="2734325" y="2803729"/>
                    <a:pt x="3037610" y="2512708"/>
                    <a:pt x="3143667" y="2110307"/>
                  </a:cubicBezTo>
                  <a:cubicBezTo>
                    <a:pt x="3248491" y="1711146"/>
                    <a:pt x="3400750" y="1202611"/>
                    <a:pt x="3197583" y="846953"/>
                  </a:cubicBezTo>
                  <a:cubicBezTo>
                    <a:pt x="2988554" y="481113"/>
                    <a:pt x="2533317" y="441159"/>
                    <a:pt x="2130145" y="336721"/>
                  </a:cubicBezTo>
                  <a:cubicBezTo>
                    <a:pt x="1731138" y="233364"/>
                    <a:pt x="1199617" y="-144355"/>
                    <a:pt x="845347" y="59352"/>
                  </a:cubicBezTo>
                  <a:cubicBezTo>
                    <a:pt x="479739" y="269539"/>
                    <a:pt x="128246" y="793269"/>
                    <a:pt x="25197" y="1196981"/>
                  </a:cubicBezTo>
                  <a:cubicBezTo>
                    <a:pt x="-76464" y="1593828"/>
                    <a:pt x="149149" y="2230788"/>
                    <a:pt x="351236" y="2583130"/>
                  </a:cubicBezTo>
                  <a:cubicBezTo>
                    <a:pt x="560960" y="2948739"/>
                    <a:pt x="796368" y="3093902"/>
                    <a:pt x="1199772" y="3197645"/>
                  </a:cubicBezTo>
                  <a:cubicBezTo>
                    <a:pt x="1594768" y="3299383"/>
                    <a:pt x="2016143" y="3211683"/>
                    <a:pt x="2368176" y="301175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1" name="Freeform: Shape 1920">
              <a:extLst>
                <a:ext uri="{FF2B5EF4-FFF2-40B4-BE49-F238E27FC236}">
                  <a16:creationId xmlns:a16="http://schemas.microsoft.com/office/drawing/2014/main" id="{1DBD1AB3-70E0-64A1-9DDB-35904DA807AE}"/>
                </a:ext>
              </a:extLst>
            </p:cNvPr>
            <p:cNvSpPr/>
            <p:nvPr/>
          </p:nvSpPr>
          <p:spPr>
            <a:xfrm>
              <a:off x="4499869" y="2600116"/>
              <a:ext cx="3267148" cy="3216006"/>
            </a:xfrm>
            <a:custGeom>
              <a:avLst/>
              <a:gdLst>
                <a:gd name="connsiteX0" fmla="*/ 2368459 w 3267148"/>
                <a:gd name="connsiteY0" fmla="*/ 3020220 h 3216006"/>
                <a:gd name="connsiteX1" fmla="*/ 3074994 w 3267148"/>
                <a:gd name="connsiteY1" fmla="*/ 2109207 h 3216006"/>
                <a:gd name="connsiteX2" fmla="*/ 3174032 w 3267148"/>
                <a:gd name="connsiteY2" fmla="*/ 833203 h 3216006"/>
                <a:gd name="connsiteX3" fmla="*/ 2077052 w 3267148"/>
                <a:gd name="connsiteY3" fmla="*/ 384060 h 3216006"/>
                <a:gd name="connsiteX4" fmla="*/ 755385 w 3267148"/>
                <a:gd name="connsiteY4" fmla="*/ 58637 h 3216006"/>
                <a:gd name="connsiteX5" fmla="*/ 33193 w 3267148"/>
                <a:gd name="connsiteY5" fmla="*/ 1217631 h 3216006"/>
                <a:gd name="connsiteX6" fmla="*/ 300072 w 3267148"/>
                <a:gd name="connsiteY6" fmla="*/ 2655537 h 3216006"/>
                <a:gd name="connsiteX7" fmla="*/ 1189873 w 3267148"/>
                <a:gd name="connsiteY7" fmla="*/ 3158209 h 3216006"/>
                <a:gd name="connsiteX8" fmla="*/ 2368305 w 3267148"/>
                <a:gd name="connsiteY8" fmla="*/ 3020297 h 32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7148" h="3216006">
                  <a:moveTo>
                    <a:pt x="2368459" y="3020220"/>
                  </a:moveTo>
                  <a:cubicBezTo>
                    <a:pt x="2720493" y="2812193"/>
                    <a:pt x="2970787" y="2505668"/>
                    <a:pt x="3074994" y="2109207"/>
                  </a:cubicBezTo>
                  <a:cubicBezTo>
                    <a:pt x="3182748" y="1698013"/>
                    <a:pt x="3386995" y="1190866"/>
                    <a:pt x="3174032" y="833203"/>
                  </a:cubicBezTo>
                  <a:cubicBezTo>
                    <a:pt x="2965002" y="482095"/>
                    <a:pt x="2473360" y="486646"/>
                    <a:pt x="2077052" y="384060"/>
                  </a:cubicBezTo>
                  <a:cubicBezTo>
                    <a:pt x="1665473" y="277462"/>
                    <a:pt x="1112201" y="-155406"/>
                    <a:pt x="755385" y="58637"/>
                  </a:cubicBezTo>
                  <a:cubicBezTo>
                    <a:pt x="405203" y="268669"/>
                    <a:pt x="134545" y="821401"/>
                    <a:pt x="33193" y="1217631"/>
                  </a:cubicBezTo>
                  <a:cubicBezTo>
                    <a:pt x="-71939" y="1627205"/>
                    <a:pt x="87803" y="2300495"/>
                    <a:pt x="300072" y="2655537"/>
                  </a:cubicBezTo>
                  <a:cubicBezTo>
                    <a:pt x="509718" y="3006104"/>
                    <a:pt x="793566" y="3056163"/>
                    <a:pt x="1189873" y="3158209"/>
                  </a:cubicBezTo>
                  <a:cubicBezTo>
                    <a:pt x="1596979" y="3263187"/>
                    <a:pt x="2013881" y="3229711"/>
                    <a:pt x="2368305" y="3020297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2" name="Freeform: Shape 1921">
              <a:extLst>
                <a:ext uri="{FF2B5EF4-FFF2-40B4-BE49-F238E27FC236}">
                  <a16:creationId xmlns:a16="http://schemas.microsoft.com/office/drawing/2014/main" id="{96FD86CB-6B86-B017-6D7E-C22570ECE832}"/>
                </a:ext>
              </a:extLst>
            </p:cNvPr>
            <p:cNvSpPr/>
            <p:nvPr/>
          </p:nvSpPr>
          <p:spPr>
            <a:xfrm>
              <a:off x="4530202" y="2595585"/>
              <a:ext cx="3242767" cy="3198539"/>
            </a:xfrm>
            <a:custGeom>
              <a:avLst/>
              <a:gdLst>
                <a:gd name="connsiteX0" fmla="*/ 2372604 w 3242767"/>
                <a:gd name="connsiteY0" fmla="*/ 3029379 h 3198539"/>
                <a:gd name="connsiteX1" fmla="*/ 3010259 w 3242767"/>
                <a:gd name="connsiteY1" fmla="*/ 2108724 h 3198539"/>
                <a:gd name="connsiteX2" fmla="*/ 3154497 w 3242767"/>
                <a:gd name="connsiteY2" fmla="*/ 819993 h 3198539"/>
                <a:gd name="connsiteX3" fmla="*/ 2027976 w 3242767"/>
                <a:gd name="connsiteY3" fmla="*/ 431862 h 3198539"/>
                <a:gd name="connsiteX4" fmla="*/ 669516 w 3242767"/>
                <a:gd name="connsiteY4" fmla="*/ 58386 h 3198539"/>
                <a:gd name="connsiteX5" fmla="*/ 45282 w 3242767"/>
                <a:gd name="connsiteY5" fmla="*/ 1238823 h 3198539"/>
                <a:gd name="connsiteX6" fmla="*/ 253078 w 3242767"/>
                <a:gd name="connsiteY6" fmla="*/ 2728484 h 3198539"/>
                <a:gd name="connsiteX7" fmla="*/ 1184145 w 3242767"/>
                <a:gd name="connsiteY7" fmla="*/ 3119315 h 3198539"/>
                <a:gd name="connsiteX8" fmla="*/ 2372681 w 3242767"/>
                <a:gd name="connsiteY8" fmla="*/ 3029379 h 3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2767" h="3198539">
                  <a:moveTo>
                    <a:pt x="2372604" y="3029379"/>
                  </a:moveTo>
                  <a:cubicBezTo>
                    <a:pt x="2710831" y="2821429"/>
                    <a:pt x="2907904" y="2499092"/>
                    <a:pt x="3010259" y="2108724"/>
                  </a:cubicBezTo>
                  <a:cubicBezTo>
                    <a:pt x="3120867" y="1685498"/>
                    <a:pt x="3377488" y="1179585"/>
                    <a:pt x="3154497" y="819993"/>
                  </a:cubicBezTo>
                  <a:cubicBezTo>
                    <a:pt x="2945776" y="483464"/>
                    <a:pt x="2417495" y="532752"/>
                    <a:pt x="2027976" y="431862"/>
                  </a:cubicBezTo>
                  <a:cubicBezTo>
                    <a:pt x="1603746" y="321948"/>
                    <a:pt x="1028569" y="-166224"/>
                    <a:pt x="669516" y="58386"/>
                  </a:cubicBezTo>
                  <a:cubicBezTo>
                    <a:pt x="334530" y="267878"/>
                    <a:pt x="144938" y="850075"/>
                    <a:pt x="45282" y="1238823"/>
                  </a:cubicBezTo>
                  <a:cubicBezTo>
                    <a:pt x="-63320" y="1661047"/>
                    <a:pt x="30241" y="2370898"/>
                    <a:pt x="253078" y="2728484"/>
                  </a:cubicBezTo>
                  <a:cubicBezTo>
                    <a:pt x="462261" y="3064165"/>
                    <a:pt x="795011" y="3018966"/>
                    <a:pt x="1184145" y="3119315"/>
                  </a:cubicBezTo>
                  <a:cubicBezTo>
                    <a:pt x="1603283" y="3227532"/>
                    <a:pt x="2015943" y="3248666"/>
                    <a:pt x="2372681" y="3029379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3" name="Freeform: Shape 1922">
              <a:extLst>
                <a:ext uri="{FF2B5EF4-FFF2-40B4-BE49-F238E27FC236}">
                  <a16:creationId xmlns:a16="http://schemas.microsoft.com/office/drawing/2014/main" id="{DCDE55D1-B2FF-D9F7-3ABE-1AA2261BE662}"/>
                </a:ext>
              </a:extLst>
            </p:cNvPr>
            <p:cNvSpPr/>
            <p:nvPr/>
          </p:nvSpPr>
          <p:spPr>
            <a:xfrm>
              <a:off x="4553971" y="2590726"/>
              <a:ext cx="3226504" cy="3187950"/>
            </a:xfrm>
            <a:custGeom>
              <a:avLst/>
              <a:gdLst>
                <a:gd name="connsiteX0" fmla="*/ 2383391 w 3226504"/>
                <a:gd name="connsiteY0" fmla="*/ 3038865 h 3187950"/>
                <a:gd name="connsiteX1" fmla="*/ 2952166 w 3226504"/>
                <a:gd name="connsiteY1" fmla="*/ 2108570 h 3187950"/>
                <a:gd name="connsiteX2" fmla="*/ 3141527 w 3226504"/>
                <a:gd name="connsiteY2" fmla="*/ 807189 h 3187950"/>
                <a:gd name="connsiteX3" fmla="*/ 1985463 w 3226504"/>
                <a:gd name="connsiteY3" fmla="*/ 480070 h 3187950"/>
                <a:gd name="connsiteX4" fmla="*/ 590135 w 3226504"/>
                <a:gd name="connsiteY4" fmla="*/ 58540 h 3187950"/>
                <a:gd name="connsiteX5" fmla="*/ 63859 w 3226504"/>
                <a:gd name="connsiteY5" fmla="*/ 1260420 h 3187950"/>
                <a:gd name="connsiteX6" fmla="*/ 212494 w 3226504"/>
                <a:gd name="connsiteY6" fmla="*/ 2801914 h 3187950"/>
                <a:gd name="connsiteX7" fmla="*/ 1184827 w 3226504"/>
                <a:gd name="connsiteY7" fmla="*/ 3080825 h 3187950"/>
                <a:gd name="connsiteX8" fmla="*/ 2383391 w 3226504"/>
                <a:gd name="connsiteY8" fmla="*/ 3038865 h 31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6504" h="3187950">
                  <a:moveTo>
                    <a:pt x="2383391" y="3038865"/>
                  </a:moveTo>
                  <a:cubicBezTo>
                    <a:pt x="2707964" y="2831302"/>
                    <a:pt x="2851740" y="2492921"/>
                    <a:pt x="2952166" y="2108570"/>
                  </a:cubicBezTo>
                  <a:cubicBezTo>
                    <a:pt x="3065629" y="1673310"/>
                    <a:pt x="3374930" y="1168401"/>
                    <a:pt x="3141527" y="807189"/>
                  </a:cubicBezTo>
                  <a:cubicBezTo>
                    <a:pt x="2933423" y="485083"/>
                    <a:pt x="2368118" y="579185"/>
                    <a:pt x="1985463" y="480070"/>
                  </a:cubicBezTo>
                  <a:cubicBezTo>
                    <a:pt x="1548662" y="366916"/>
                    <a:pt x="951347" y="-177023"/>
                    <a:pt x="590135" y="58540"/>
                  </a:cubicBezTo>
                  <a:cubicBezTo>
                    <a:pt x="270112" y="267261"/>
                    <a:pt x="161818" y="879077"/>
                    <a:pt x="63859" y="1260420"/>
                  </a:cubicBezTo>
                  <a:cubicBezTo>
                    <a:pt x="-48214" y="1695293"/>
                    <a:pt x="-21218" y="2442014"/>
                    <a:pt x="212494" y="2801914"/>
                  </a:cubicBezTo>
                  <a:cubicBezTo>
                    <a:pt x="420983" y="3122940"/>
                    <a:pt x="802790" y="2982250"/>
                    <a:pt x="1184827" y="3080825"/>
                  </a:cubicBezTo>
                  <a:cubicBezTo>
                    <a:pt x="1615998" y="3192205"/>
                    <a:pt x="2024647" y="3268258"/>
                    <a:pt x="2383391" y="3038865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4" name="Freeform: Shape 1923">
              <a:extLst>
                <a:ext uri="{FF2B5EF4-FFF2-40B4-BE49-F238E27FC236}">
                  <a16:creationId xmlns:a16="http://schemas.microsoft.com/office/drawing/2014/main" id="{4CA3C599-B0E6-8EBF-8064-B7F888440415}"/>
                </a:ext>
              </a:extLst>
            </p:cNvPr>
            <p:cNvSpPr/>
            <p:nvPr/>
          </p:nvSpPr>
          <p:spPr>
            <a:xfrm>
              <a:off x="4568996" y="2585529"/>
              <a:ext cx="3220062" cy="3183237"/>
            </a:xfrm>
            <a:custGeom>
              <a:avLst/>
              <a:gdLst>
                <a:gd name="connsiteX0" fmla="*/ 2402845 w 3220062"/>
                <a:gd name="connsiteY0" fmla="*/ 3048690 h 3183237"/>
                <a:gd name="connsiteX1" fmla="*/ 2902741 w 3220062"/>
                <a:gd name="connsiteY1" fmla="*/ 2108752 h 3183237"/>
                <a:gd name="connsiteX2" fmla="*/ 3137301 w 3220062"/>
                <a:gd name="connsiteY2" fmla="*/ 794722 h 3183237"/>
                <a:gd name="connsiteX3" fmla="*/ 1951696 w 3220062"/>
                <a:gd name="connsiteY3" fmla="*/ 528615 h 3183237"/>
                <a:gd name="connsiteX4" fmla="*/ 519498 w 3220062"/>
                <a:gd name="connsiteY4" fmla="*/ 59031 h 3183237"/>
                <a:gd name="connsiteX5" fmla="*/ 91104 w 3220062"/>
                <a:gd name="connsiteY5" fmla="*/ 1282277 h 3183237"/>
                <a:gd name="connsiteX6" fmla="*/ 180577 w 3220062"/>
                <a:gd name="connsiteY6" fmla="*/ 2875527 h 3183237"/>
                <a:gd name="connsiteX7" fmla="*/ 1194100 w 3220062"/>
                <a:gd name="connsiteY7" fmla="*/ 3042597 h 3183237"/>
                <a:gd name="connsiteX8" fmla="*/ 2402690 w 3220062"/>
                <a:gd name="connsiteY8" fmla="*/ 3048690 h 3183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0062" h="3183237">
                  <a:moveTo>
                    <a:pt x="2402845" y="3048690"/>
                  </a:moveTo>
                  <a:cubicBezTo>
                    <a:pt x="2713920" y="2841743"/>
                    <a:pt x="2804166" y="2487088"/>
                    <a:pt x="2902741" y="2108752"/>
                  </a:cubicBezTo>
                  <a:cubicBezTo>
                    <a:pt x="3019057" y="1661538"/>
                    <a:pt x="3381426" y="1157322"/>
                    <a:pt x="3137301" y="794722"/>
                  </a:cubicBezTo>
                  <a:cubicBezTo>
                    <a:pt x="2930046" y="486809"/>
                    <a:pt x="2327563" y="626033"/>
                    <a:pt x="1951696" y="528615"/>
                  </a:cubicBezTo>
                  <a:cubicBezTo>
                    <a:pt x="1502322" y="412221"/>
                    <a:pt x="882484" y="-187870"/>
                    <a:pt x="519498" y="59031"/>
                  </a:cubicBezTo>
                  <a:cubicBezTo>
                    <a:pt x="214284" y="266672"/>
                    <a:pt x="187442" y="908415"/>
                    <a:pt x="91104" y="1282277"/>
                  </a:cubicBezTo>
                  <a:cubicBezTo>
                    <a:pt x="-24441" y="1729877"/>
                    <a:pt x="-64396" y="2513621"/>
                    <a:pt x="180577" y="2875527"/>
                  </a:cubicBezTo>
                  <a:cubicBezTo>
                    <a:pt x="388064" y="3182052"/>
                    <a:pt x="819235" y="2945718"/>
                    <a:pt x="1194100" y="3042597"/>
                  </a:cubicBezTo>
                  <a:cubicBezTo>
                    <a:pt x="1637304" y="3157215"/>
                    <a:pt x="2042173" y="3288495"/>
                    <a:pt x="2402690" y="3048690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5" name="Freeform: Shape 1924">
              <a:extLst>
                <a:ext uri="{FF2B5EF4-FFF2-40B4-BE49-F238E27FC236}">
                  <a16:creationId xmlns:a16="http://schemas.microsoft.com/office/drawing/2014/main" id="{7388A98B-5FF5-D806-94DB-755BA432E2B6}"/>
                </a:ext>
              </a:extLst>
            </p:cNvPr>
            <p:cNvSpPr/>
            <p:nvPr/>
          </p:nvSpPr>
          <p:spPr>
            <a:xfrm>
              <a:off x="4575239" y="2579941"/>
              <a:ext cx="3223194" cy="3183120"/>
            </a:xfrm>
            <a:custGeom>
              <a:avLst/>
              <a:gdLst>
                <a:gd name="connsiteX0" fmla="*/ 2431079 w 3223194"/>
                <a:gd name="connsiteY0" fmla="*/ 3058906 h 3183120"/>
                <a:gd name="connsiteX1" fmla="*/ 2862096 w 3223194"/>
                <a:gd name="connsiteY1" fmla="*/ 2109327 h 3183120"/>
                <a:gd name="connsiteX2" fmla="*/ 3141779 w 3223194"/>
                <a:gd name="connsiteY2" fmla="*/ 782570 h 3183120"/>
                <a:gd name="connsiteX3" fmla="*/ 1926632 w 3223194"/>
                <a:gd name="connsiteY3" fmla="*/ 577475 h 3183120"/>
                <a:gd name="connsiteX4" fmla="*/ 457565 w 3223194"/>
                <a:gd name="connsiteY4" fmla="*/ 59838 h 3183120"/>
                <a:gd name="connsiteX5" fmla="*/ 127129 w 3223194"/>
                <a:gd name="connsiteY5" fmla="*/ 1304526 h 3183120"/>
                <a:gd name="connsiteX6" fmla="*/ 157519 w 3223194"/>
                <a:gd name="connsiteY6" fmla="*/ 2949610 h 3183120"/>
                <a:gd name="connsiteX7" fmla="*/ 1212307 w 3223194"/>
                <a:gd name="connsiteY7" fmla="*/ 3004836 h 3183120"/>
                <a:gd name="connsiteX8" fmla="*/ 2431002 w 3223194"/>
                <a:gd name="connsiteY8" fmla="*/ 3058906 h 318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3194" h="3183120">
                  <a:moveTo>
                    <a:pt x="2431079" y="3058906"/>
                  </a:moveTo>
                  <a:cubicBezTo>
                    <a:pt x="2728888" y="2852731"/>
                    <a:pt x="2765372" y="2481646"/>
                    <a:pt x="2862096" y="2109327"/>
                  </a:cubicBezTo>
                  <a:cubicBezTo>
                    <a:pt x="2981343" y="1650080"/>
                    <a:pt x="3397011" y="1146327"/>
                    <a:pt x="3141779" y="782570"/>
                  </a:cubicBezTo>
                  <a:cubicBezTo>
                    <a:pt x="2935526" y="488695"/>
                    <a:pt x="2295712" y="673119"/>
                    <a:pt x="1926632" y="577475"/>
                  </a:cubicBezTo>
                  <a:cubicBezTo>
                    <a:pt x="1464608" y="457765"/>
                    <a:pt x="822016" y="-198865"/>
                    <a:pt x="457565" y="59838"/>
                  </a:cubicBezTo>
                  <a:cubicBezTo>
                    <a:pt x="166852" y="266168"/>
                    <a:pt x="221848" y="938146"/>
                    <a:pt x="127129" y="1304526"/>
                  </a:cubicBezTo>
                  <a:cubicBezTo>
                    <a:pt x="8113" y="1764776"/>
                    <a:pt x="-99178" y="2585930"/>
                    <a:pt x="157519" y="2949610"/>
                  </a:cubicBezTo>
                  <a:cubicBezTo>
                    <a:pt x="363849" y="3241942"/>
                    <a:pt x="844539" y="2909655"/>
                    <a:pt x="1212307" y="3004836"/>
                  </a:cubicBezTo>
                  <a:cubicBezTo>
                    <a:pt x="1667544" y="3122695"/>
                    <a:pt x="2068942" y="3309510"/>
                    <a:pt x="2431002" y="3058906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926" name="Freeform: Shape 1925">
              <a:extLst>
                <a:ext uri="{FF2B5EF4-FFF2-40B4-BE49-F238E27FC236}">
                  <a16:creationId xmlns:a16="http://schemas.microsoft.com/office/drawing/2014/main" id="{7EB52FE9-D601-207C-745C-97D0E0B94D50}"/>
                </a:ext>
              </a:extLst>
            </p:cNvPr>
            <p:cNvSpPr/>
            <p:nvPr/>
          </p:nvSpPr>
          <p:spPr>
            <a:xfrm>
              <a:off x="4574616" y="2574268"/>
              <a:ext cx="3233910" cy="3186151"/>
            </a:xfrm>
            <a:custGeom>
              <a:avLst/>
              <a:gdLst>
                <a:gd name="connsiteX0" fmla="*/ 2828318 w 3233910"/>
                <a:gd name="connsiteY0" fmla="*/ 2109987 h 3186151"/>
                <a:gd name="connsiteX1" fmla="*/ 3153201 w 3233910"/>
                <a:gd name="connsiteY1" fmla="*/ 770580 h 3186151"/>
                <a:gd name="connsiteX2" fmla="*/ 1908512 w 3233910"/>
                <a:gd name="connsiteY2" fmla="*/ 626573 h 3186151"/>
                <a:gd name="connsiteX3" fmla="*/ 402652 w 3233910"/>
                <a:gd name="connsiteY3" fmla="*/ 60883 h 3186151"/>
                <a:gd name="connsiteX4" fmla="*/ 170175 w 3233910"/>
                <a:gd name="connsiteY4" fmla="*/ 1327014 h 3186151"/>
                <a:gd name="connsiteX5" fmla="*/ 141404 w 3233910"/>
                <a:gd name="connsiteY5" fmla="*/ 3023854 h 3186151"/>
                <a:gd name="connsiteX6" fmla="*/ 1237458 w 3233910"/>
                <a:gd name="connsiteY6" fmla="*/ 2967238 h 3186151"/>
                <a:gd name="connsiteX7" fmla="*/ 2466180 w 3233910"/>
                <a:gd name="connsiteY7" fmla="*/ 3069285 h 3186151"/>
                <a:gd name="connsiteX8" fmla="*/ 2828318 w 3233910"/>
                <a:gd name="connsiteY8" fmla="*/ 2110064 h 318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3910" h="3186151">
                  <a:moveTo>
                    <a:pt x="2828318" y="2109987"/>
                  </a:moveTo>
                  <a:cubicBezTo>
                    <a:pt x="2950419" y="1638707"/>
                    <a:pt x="3419925" y="1135031"/>
                    <a:pt x="3153201" y="770580"/>
                  </a:cubicBezTo>
                  <a:cubicBezTo>
                    <a:pt x="2948182" y="490434"/>
                    <a:pt x="2270727" y="720366"/>
                    <a:pt x="1908512" y="626573"/>
                  </a:cubicBezTo>
                  <a:cubicBezTo>
                    <a:pt x="1433915" y="503624"/>
                    <a:pt x="768029" y="-210007"/>
                    <a:pt x="402652" y="60883"/>
                  </a:cubicBezTo>
                  <a:cubicBezTo>
                    <a:pt x="126286" y="265747"/>
                    <a:pt x="263197" y="968039"/>
                    <a:pt x="170175" y="1327014"/>
                  </a:cubicBezTo>
                  <a:cubicBezTo>
                    <a:pt x="47611" y="1799914"/>
                    <a:pt x="-127326" y="2658939"/>
                    <a:pt x="141404" y="3023854"/>
                  </a:cubicBezTo>
                  <a:cubicBezTo>
                    <a:pt x="346345" y="3302147"/>
                    <a:pt x="876786" y="2873831"/>
                    <a:pt x="1237458" y="2967238"/>
                  </a:cubicBezTo>
                  <a:cubicBezTo>
                    <a:pt x="1704727" y="3088336"/>
                    <a:pt x="2102963" y="3331072"/>
                    <a:pt x="2466180" y="3069285"/>
                  </a:cubicBezTo>
                  <a:cubicBezTo>
                    <a:pt x="2750877" y="2864112"/>
                    <a:pt x="2733445" y="2476289"/>
                    <a:pt x="2828318" y="2110064"/>
                  </a:cubicBezTo>
                  <a:close/>
                </a:path>
              </a:pathLst>
            </a:custGeom>
            <a:ln w="3175" cap="flat">
              <a:gradFill>
                <a:gsLst>
                  <a:gs pos="75000">
                    <a:srgbClr val="C73FB1">
                      <a:alpha val="0"/>
                    </a:srgbClr>
                  </a:gs>
                  <a:gs pos="25000">
                    <a:schemeClr val="accent5">
                      <a:alpha val="0"/>
                    </a:schemeClr>
                  </a:gs>
                  <a:gs pos="50000">
                    <a:srgbClr val="D44690">
                      <a:alpha val="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2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02" name="Graphic 5">
            <a:extLst>
              <a:ext uri="{FF2B5EF4-FFF2-40B4-BE49-F238E27FC236}">
                <a16:creationId xmlns:a16="http://schemas.microsoft.com/office/drawing/2014/main" id="{45127F72-E0DC-487D-9A4D-2AE1517FBF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7831519">
            <a:off x="-703935" y="621880"/>
            <a:ext cx="3691521" cy="2402045"/>
            <a:chOff x="3224705" y="2448010"/>
            <a:chExt cx="5745675" cy="3738674"/>
          </a:xfrm>
          <a:noFill/>
        </p:grpSpPr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9E563F90-20D9-3311-7963-4CF63B20C533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4EF1B82-9D62-0B31-81FA-431CA7B09D6A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F3F33BA5-8B47-B7B9-2977-4177D3373CFB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B6B67F1C-766D-26C2-84C6-1420A960A549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B85474D1-2B98-1EB1-B9EB-A2CDDE804DCC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BFF2BBBA-7B8E-CD50-37F3-9D75801E9DE9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017D2EDF-1583-DC5C-631F-5E974EBBEF80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0E373A67-8BA8-B618-B799-56437EB8494C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444F2EFA-9EA4-DB0A-8545-F1DF31D3A05A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B815A708-2B0B-3F04-4A27-A8C9FDD0CDBF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6A9ED86D-15D2-023F-5C5E-3140F7D05D5C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DA36D4D6-33CB-0E67-6ABD-B515981F680B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4600">
                    <a:schemeClr val="accent5">
                      <a:alpha val="0"/>
                    </a:schemeClr>
                  </a:gs>
                  <a:gs pos="75000">
                    <a:srgbClr val="CB41A9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6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403" name="Graphic 5">
            <a:extLst>
              <a:ext uri="{FF2B5EF4-FFF2-40B4-BE49-F238E27FC236}">
                <a16:creationId xmlns:a16="http://schemas.microsoft.com/office/drawing/2014/main" id="{6B94E61C-57AD-B811-13E2-186D18870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759180">
            <a:off x="89176" y="280695"/>
            <a:ext cx="2488970" cy="3181946"/>
            <a:chOff x="4061078" y="1549502"/>
            <a:chExt cx="3873961" cy="4952549"/>
          </a:xfrm>
          <a:noFill/>
        </p:grpSpPr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CB2A5EFE-3A5B-76CA-3BC1-7285E77B7E61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00FCFBB0-C2EC-E9E1-CB34-9E149B1005D6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8F2FD7C1-880E-247D-C322-3D06F48D2CD7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D849D06E-C0C0-30A4-8543-B316EC8FBA9E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4F27E6BB-8650-DFB0-F6C6-C17524B94727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18701C76-415F-C5D7-4841-8330807FE6C2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FCBA084D-F85F-F748-4C51-C3CDE0DB8C78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B4D29FA5-A2F5-BA42-9271-9E558EDBC02D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59312A95-1450-4B6F-88E6-8201B66C45DA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19FC8FF4-3B28-3016-F15C-D71F433EF370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00657B93-9E53-050F-C4BA-C628F6DE8C68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263832C2-4999-C793-6A0C-75CA0EF0E5FD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chemeClr val="accent5">
                      <a:alpha val="0"/>
                    </a:schemeClr>
                  </a:gs>
                  <a:gs pos="75000">
                    <a:srgbClr val="C73FB1">
                      <a:alpha val="0"/>
                    </a:srgbClr>
                  </a:gs>
                  <a:gs pos="50000">
                    <a:srgbClr val="D44690">
                      <a:alpha val="50000"/>
                    </a:srgbClr>
                  </a:gs>
                  <a:gs pos="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alpha val="47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sp>
        <p:nvSpPr>
          <p:cNvPr id="423" name="Rectangle 422">
            <a:extLst>
              <a:ext uri="{FF2B5EF4-FFF2-40B4-BE49-F238E27FC236}">
                <a16:creationId xmlns:a16="http://schemas.microsoft.com/office/drawing/2014/main" id="{938BDECC-BAEF-7DCE-4CFF-F58F255FBFBD}"/>
              </a:ext>
            </a:extLst>
          </p:cNvPr>
          <p:cNvSpPr/>
          <p:nvPr/>
        </p:nvSpPr>
        <p:spPr>
          <a:xfrm>
            <a:off x="2666283" y="2224248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Sweco</a:t>
            </a: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00B34A38-565E-09F7-3C04-9EF60D591E99}"/>
              </a:ext>
            </a:extLst>
          </p:cNvPr>
          <p:cNvSpPr/>
          <p:nvPr/>
        </p:nvSpPr>
        <p:spPr>
          <a:xfrm>
            <a:off x="2860148" y="4476762"/>
            <a:ext cx="102666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Freshworks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8856E821-BAA9-1DA6-FAAB-6E91ADA06CE5}"/>
              </a:ext>
            </a:extLst>
          </p:cNvPr>
          <p:cNvSpPr/>
          <p:nvPr/>
        </p:nvSpPr>
        <p:spPr>
          <a:xfrm>
            <a:off x="2297588" y="2849508"/>
            <a:ext cx="201922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Unity Gaming</a:t>
            </a: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DA4ADE5A-8C8E-0051-BCC7-32708005EDE6}"/>
              </a:ext>
            </a:extLst>
          </p:cNvPr>
          <p:cNvSpPr/>
          <p:nvPr/>
        </p:nvSpPr>
        <p:spPr>
          <a:xfrm>
            <a:off x="2733855" y="3805153"/>
            <a:ext cx="94878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 Semibold" panose="020B0702040204020203" pitchFamily="34" charset="0"/>
              </a:rPr>
              <a:t>Siemens</a:t>
            </a:r>
          </a:p>
        </p:txBody>
      </p:sp>
    </p:spTree>
    <p:extLst>
      <p:ext uri="{BB962C8B-B14F-4D97-AF65-F5344CB8AC3E}">
        <p14:creationId xmlns:p14="http://schemas.microsoft.com/office/powerpoint/2010/main" val="158611680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5">
            <a:extLst>
              <a:ext uri="{FF2B5EF4-FFF2-40B4-BE49-F238E27FC236}">
                <a16:creationId xmlns:a16="http://schemas.microsoft.com/office/drawing/2014/main" id="{28951016-5C4B-643F-2B60-B6F856313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7771398">
            <a:off x="-3428195" y="973689"/>
            <a:ext cx="17055782" cy="11098088"/>
            <a:chOff x="3224705" y="2448010"/>
            <a:chExt cx="5745675" cy="3738674"/>
          </a:xfrm>
          <a:noFill/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03F5FE9-AD70-8D59-168D-A6B876C109E8}"/>
                </a:ext>
              </a:extLst>
            </p:cNvPr>
            <p:cNvSpPr/>
            <p:nvPr/>
          </p:nvSpPr>
          <p:spPr>
            <a:xfrm>
              <a:off x="3224705" y="2973429"/>
              <a:ext cx="4086746" cy="2988613"/>
            </a:xfrm>
            <a:custGeom>
              <a:avLst/>
              <a:gdLst>
                <a:gd name="connsiteX0" fmla="*/ 3021857 w 4086746"/>
                <a:gd name="connsiteY0" fmla="*/ 21082 h 2988613"/>
                <a:gd name="connsiteX1" fmla="*/ 1949714 w 4086746"/>
                <a:gd name="connsiteY1" fmla="*/ 140561 h 2988613"/>
                <a:gd name="connsiteX2" fmla="*/ 17620 w 4086746"/>
                <a:gd name="connsiteY2" fmla="*/ 326759 h 2988613"/>
                <a:gd name="connsiteX3" fmla="*/ 1162808 w 4086746"/>
                <a:gd name="connsiteY3" fmla="*/ 2051134 h 2988613"/>
                <a:gd name="connsiteX4" fmla="*/ 2164991 w 4086746"/>
                <a:gd name="connsiteY4" fmla="*/ 2546943 h 2988613"/>
                <a:gd name="connsiteX5" fmla="*/ 3449172 w 4086746"/>
                <a:gd name="connsiteY5" fmla="*/ 2922733 h 2988613"/>
                <a:gd name="connsiteX6" fmla="*/ 3803596 w 4086746"/>
                <a:gd name="connsiteY6" fmla="*/ 1748620 h 2988613"/>
                <a:gd name="connsiteX7" fmla="*/ 3997970 w 4086746"/>
                <a:gd name="connsiteY7" fmla="*/ 855117 h 2988613"/>
                <a:gd name="connsiteX8" fmla="*/ 3021857 w 4086746"/>
                <a:gd name="connsiteY8" fmla="*/ 21160 h 29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6746" h="2988613">
                  <a:moveTo>
                    <a:pt x="3021857" y="21082"/>
                  </a:moveTo>
                  <a:cubicBezTo>
                    <a:pt x="2524275" y="34658"/>
                    <a:pt x="2338926" y="-88523"/>
                    <a:pt x="1949714" y="140561"/>
                  </a:cubicBezTo>
                  <a:cubicBezTo>
                    <a:pt x="1650594" y="316654"/>
                    <a:pt x="147126" y="-24349"/>
                    <a:pt x="17620" y="326759"/>
                  </a:cubicBezTo>
                  <a:cubicBezTo>
                    <a:pt x="-151995" y="786777"/>
                    <a:pt x="953624" y="1647191"/>
                    <a:pt x="1162808" y="2051134"/>
                  </a:cubicBezTo>
                  <a:cubicBezTo>
                    <a:pt x="1489850" y="2682542"/>
                    <a:pt x="1817123" y="2418671"/>
                    <a:pt x="2164991" y="2546943"/>
                  </a:cubicBezTo>
                  <a:cubicBezTo>
                    <a:pt x="2623313" y="2715940"/>
                    <a:pt x="3059267" y="3153822"/>
                    <a:pt x="3449172" y="2922733"/>
                  </a:cubicBezTo>
                  <a:cubicBezTo>
                    <a:pt x="3746441" y="2746562"/>
                    <a:pt x="3674708" y="2098108"/>
                    <a:pt x="3803596" y="1748620"/>
                  </a:cubicBezTo>
                  <a:cubicBezTo>
                    <a:pt x="3970588" y="1295698"/>
                    <a:pt x="4222272" y="1242631"/>
                    <a:pt x="3997970" y="855117"/>
                  </a:cubicBezTo>
                  <a:cubicBezTo>
                    <a:pt x="3822185" y="551446"/>
                    <a:pt x="3400038" y="10824"/>
                    <a:pt x="3021857" y="2116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B3891A4-4C7D-B7DB-BEAF-42AD4CA5D070}"/>
                </a:ext>
              </a:extLst>
            </p:cNvPr>
            <p:cNvSpPr/>
            <p:nvPr/>
          </p:nvSpPr>
          <p:spPr>
            <a:xfrm>
              <a:off x="3285345" y="2945042"/>
              <a:ext cx="4163768" cy="2979360"/>
            </a:xfrm>
            <a:custGeom>
              <a:avLst/>
              <a:gdLst>
                <a:gd name="connsiteX0" fmla="*/ 3793170 w 4163768"/>
                <a:gd name="connsiteY0" fmla="*/ 1782639 h 2979360"/>
                <a:gd name="connsiteX1" fmla="*/ 4094681 w 4163768"/>
                <a:gd name="connsiteY1" fmla="*/ 868155 h 2979360"/>
                <a:gd name="connsiteX2" fmla="*/ 2987366 w 4163768"/>
                <a:gd name="connsiteY2" fmla="*/ 28 h 2979360"/>
                <a:gd name="connsiteX3" fmla="*/ 1885912 w 4163768"/>
                <a:gd name="connsiteY3" fmla="*/ 197641 h 2979360"/>
                <a:gd name="connsiteX4" fmla="*/ 15678 w 4163768"/>
                <a:gd name="connsiteY4" fmla="*/ 437446 h 2979360"/>
                <a:gd name="connsiteX5" fmla="*/ 1132404 w 4163768"/>
                <a:gd name="connsiteY5" fmla="*/ 2066409 h 2979360"/>
                <a:gd name="connsiteX6" fmla="*/ 2140990 w 4163768"/>
                <a:gd name="connsiteY6" fmla="*/ 2635648 h 2979360"/>
                <a:gd name="connsiteX7" fmla="*/ 3375266 w 4163768"/>
                <a:gd name="connsiteY7" fmla="*/ 2903143 h 2979360"/>
                <a:gd name="connsiteX8" fmla="*/ 3793247 w 4163768"/>
                <a:gd name="connsiteY8" fmla="*/ 1782639 h 297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3768" h="2979360">
                  <a:moveTo>
                    <a:pt x="3793170" y="1782639"/>
                  </a:moveTo>
                  <a:cubicBezTo>
                    <a:pt x="3948438" y="1338818"/>
                    <a:pt x="4315975" y="1250115"/>
                    <a:pt x="4094681" y="868155"/>
                  </a:cubicBezTo>
                  <a:cubicBezTo>
                    <a:pt x="3912417" y="553917"/>
                    <a:pt x="3371717" y="-4523"/>
                    <a:pt x="2987366" y="28"/>
                  </a:cubicBezTo>
                  <a:cubicBezTo>
                    <a:pt x="2503822" y="5735"/>
                    <a:pt x="2269030" y="-27894"/>
                    <a:pt x="1885912" y="197641"/>
                  </a:cubicBezTo>
                  <a:cubicBezTo>
                    <a:pt x="1575531" y="380291"/>
                    <a:pt x="141019" y="77932"/>
                    <a:pt x="15678" y="437446"/>
                  </a:cubicBezTo>
                  <a:cubicBezTo>
                    <a:pt x="-141132" y="887207"/>
                    <a:pt x="925072" y="1670179"/>
                    <a:pt x="1132404" y="2066409"/>
                  </a:cubicBezTo>
                  <a:cubicBezTo>
                    <a:pt x="1452196" y="2678688"/>
                    <a:pt x="1784560" y="2511310"/>
                    <a:pt x="2140990" y="2635648"/>
                  </a:cubicBezTo>
                  <a:cubicBezTo>
                    <a:pt x="2589439" y="2792072"/>
                    <a:pt x="2991608" y="3130376"/>
                    <a:pt x="3375266" y="2903143"/>
                  </a:cubicBezTo>
                  <a:cubicBezTo>
                    <a:pt x="3683333" y="2720725"/>
                    <a:pt x="3668215" y="2140071"/>
                    <a:pt x="3793247" y="178263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3CB3114-D69E-EEE9-8146-9B4635686BCE}"/>
                </a:ext>
              </a:extLst>
            </p:cNvPr>
            <p:cNvSpPr/>
            <p:nvPr/>
          </p:nvSpPr>
          <p:spPr>
            <a:xfrm>
              <a:off x="3345777" y="2895587"/>
              <a:ext cx="4247432" cy="2996098"/>
            </a:xfrm>
            <a:custGeom>
              <a:avLst/>
              <a:gdLst>
                <a:gd name="connsiteX0" fmla="*/ 3783028 w 4247432"/>
                <a:gd name="connsiteY0" fmla="*/ 1837724 h 2996098"/>
                <a:gd name="connsiteX1" fmla="*/ 4191599 w 4247432"/>
                <a:gd name="connsiteY1" fmla="*/ 902338 h 2996098"/>
                <a:gd name="connsiteX2" fmla="*/ 2953081 w 4247432"/>
                <a:gd name="connsiteY2" fmla="*/ 41 h 2996098"/>
                <a:gd name="connsiteX3" fmla="*/ 1822318 w 4247432"/>
                <a:gd name="connsiteY3" fmla="*/ 275790 h 2996098"/>
                <a:gd name="connsiteX4" fmla="*/ 13867 w 4247432"/>
                <a:gd name="connsiteY4" fmla="*/ 569202 h 2996098"/>
                <a:gd name="connsiteX5" fmla="*/ 1102053 w 4247432"/>
                <a:gd name="connsiteY5" fmla="*/ 2102675 h 2996098"/>
                <a:gd name="connsiteX6" fmla="*/ 2117041 w 4247432"/>
                <a:gd name="connsiteY6" fmla="*/ 2745420 h 2996098"/>
                <a:gd name="connsiteX7" fmla="*/ 3301335 w 4247432"/>
                <a:gd name="connsiteY7" fmla="*/ 2904699 h 2996098"/>
                <a:gd name="connsiteX8" fmla="*/ 3782951 w 4247432"/>
                <a:gd name="connsiteY8" fmla="*/ 1837724 h 299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7432" h="2996098">
                  <a:moveTo>
                    <a:pt x="3783028" y="1837724"/>
                  </a:moveTo>
                  <a:cubicBezTo>
                    <a:pt x="3926880" y="1403159"/>
                    <a:pt x="4410039" y="1278667"/>
                    <a:pt x="4191599" y="902338"/>
                  </a:cubicBezTo>
                  <a:cubicBezTo>
                    <a:pt x="4002856" y="577532"/>
                    <a:pt x="3343681" y="1506"/>
                    <a:pt x="2953081" y="41"/>
                  </a:cubicBezTo>
                  <a:cubicBezTo>
                    <a:pt x="2483575" y="-1733"/>
                    <a:pt x="2199342" y="53802"/>
                    <a:pt x="1822318" y="275790"/>
                  </a:cubicBezTo>
                  <a:cubicBezTo>
                    <a:pt x="1500752" y="465073"/>
                    <a:pt x="134888" y="201125"/>
                    <a:pt x="13867" y="569202"/>
                  </a:cubicBezTo>
                  <a:cubicBezTo>
                    <a:pt x="-130603" y="1008626"/>
                    <a:pt x="896726" y="1714158"/>
                    <a:pt x="1102053" y="2102675"/>
                  </a:cubicBezTo>
                  <a:cubicBezTo>
                    <a:pt x="1414672" y="2695824"/>
                    <a:pt x="1751896" y="2625171"/>
                    <a:pt x="2117041" y="2745420"/>
                  </a:cubicBezTo>
                  <a:cubicBezTo>
                    <a:pt x="2555309" y="2889658"/>
                    <a:pt x="2924002" y="3128075"/>
                    <a:pt x="3301335" y="2904699"/>
                  </a:cubicBezTo>
                  <a:cubicBezTo>
                    <a:pt x="3620201" y="2716033"/>
                    <a:pt x="3661930" y="2203256"/>
                    <a:pt x="3782951" y="183772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3857FD9-89EA-6D80-8CAB-452A2EB22F02}"/>
                </a:ext>
              </a:extLst>
            </p:cNvPr>
            <p:cNvSpPr/>
            <p:nvPr/>
          </p:nvSpPr>
          <p:spPr>
            <a:xfrm>
              <a:off x="3406170" y="2845727"/>
              <a:ext cx="4334890" cy="3021757"/>
            </a:xfrm>
            <a:custGeom>
              <a:avLst/>
              <a:gdLst>
                <a:gd name="connsiteX0" fmla="*/ 3772848 w 4334890"/>
                <a:gd name="connsiteY0" fmla="*/ 1893214 h 3021757"/>
                <a:gd name="connsiteX1" fmla="*/ 4288557 w 4334890"/>
                <a:gd name="connsiteY1" fmla="*/ 936924 h 3021757"/>
                <a:gd name="connsiteX2" fmla="*/ 2918837 w 4334890"/>
                <a:gd name="connsiteY2" fmla="*/ 381 h 3021757"/>
                <a:gd name="connsiteX3" fmla="*/ 1758762 w 4334890"/>
                <a:gd name="connsiteY3" fmla="*/ 354188 h 3021757"/>
                <a:gd name="connsiteX4" fmla="*/ 12172 w 4334890"/>
                <a:gd name="connsiteY4" fmla="*/ 701207 h 3021757"/>
                <a:gd name="connsiteX5" fmla="*/ 1071897 w 4334890"/>
                <a:gd name="connsiteY5" fmla="*/ 2139267 h 3021757"/>
                <a:gd name="connsiteX6" fmla="*/ 2093286 w 4334890"/>
                <a:gd name="connsiteY6" fmla="*/ 2855443 h 3021757"/>
                <a:gd name="connsiteX7" fmla="*/ 3227676 w 4334890"/>
                <a:gd name="connsiteY7" fmla="*/ 2906427 h 3021757"/>
                <a:gd name="connsiteX8" fmla="*/ 3772926 w 4334890"/>
                <a:gd name="connsiteY8" fmla="*/ 1893060 h 30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4890" h="3021757">
                  <a:moveTo>
                    <a:pt x="3772848" y="1893214"/>
                  </a:moveTo>
                  <a:cubicBezTo>
                    <a:pt x="3905671" y="1468137"/>
                    <a:pt x="4503989" y="1307701"/>
                    <a:pt x="4288557" y="936924"/>
                  </a:cubicBezTo>
                  <a:cubicBezTo>
                    <a:pt x="4093411" y="601629"/>
                    <a:pt x="3315684" y="8094"/>
                    <a:pt x="2918837" y="381"/>
                  </a:cubicBezTo>
                  <a:cubicBezTo>
                    <a:pt x="2463446" y="-8412"/>
                    <a:pt x="2129770" y="135826"/>
                    <a:pt x="1758762" y="354188"/>
                  </a:cubicBezTo>
                  <a:cubicBezTo>
                    <a:pt x="1425935" y="550027"/>
                    <a:pt x="128642" y="324415"/>
                    <a:pt x="12172" y="701207"/>
                  </a:cubicBezTo>
                  <a:cubicBezTo>
                    <a:pt x="-120342" y="1129987"/>
                    <a:pt x="868421" y="1758386"/>
                    <a:pt x="1071897" y="2139267"/>
                  </a:cubicBezTo>
                  <a:cubicBezTo>
                    <a:pt x="1377265" y="2713288"/>
                    <a:pt x="1719270" y="2739667"/>
                    <a:pt x="2093286" y="2855443"/>
                  </a:cubicBezTo>
                  <a:cubicBezTo>
                    <a:pt x="2521218" y="2987957"/>
                    <a:pt x="2856591" y="3126024"/>
                    <a:pt x="3227676" y="2906427"/>
                  </a:cubicBezTo>
                  <a:cubicBezTo>
                    <a:pt x="3557340" y="2711514"/>
                    <a:pt x="3656147" y="2266690"/>
                    <a:pt x="3772926" y="189306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DB278CB-F8F2-40BB-E425-037CC90B6173}"/>
                </a:ext>
              </a:extLst>
            </p:cNvPr>
            <p:cNvSpPr/>
            <p:nvPr/>
          </p:nvSpPr>
          <p:spPr>
            <a:xfrm>
              <a:off x="3466359" y="2795931"/>
              <a:ext cx="4425026" cy="3063471"/>
            </a:xfrm>
            <a:custGeom>
              <a:avLst/>
              <a:gdLst>
                <a:gd name="connsiteX0" fmla="*/ 3762949 w 4425026"/>
                <a:gd name="connsiteY0" fmla="*/ 1948641 h 3063471"/>
                <a:gd name="connsiteX1" fmla="*/ 4385718 w 4425026"/>
                <a:gd name="connsiteY1" fmla="*/ 971448 h 3063471"/>
                <a:gd name="connsiteX2" fmla="*/ 2884795 w 4425026"/>
                <a:gd name="connsiteY2" fmla="*/ 735 h 3063471"/>
                <a:gd name="connsiteX3" fmla="*/ 1695410 w 4425026"/>
                <a:gd name="connsiteY3" fmla="*/ 432677 h 3063471"/>
                <a:gd name="connsiteX4" fmla="*/ 10603 w 4425026"/>
                <a:gd name="connsiteY4" fmla="*/ 833304 h 3063471"/>
                <a:gd name="connsiteX5" fmla="*/ 1041789 w 4425026"/>
                <a:gd name="connsiteY5" fmla="*/ 2175951 h 3063471"/>
                <a:gd name="connsiteX6" fmla="*/ 2069581 w 4425026"/>
                <a:gd name="connsiteY6" fmla="*/ 2965634 h 3063471"/>
                <a:gd name="connsiteX7" fmla="*/ 3154065 w 4425026"/>
                <a:gd name="connsiteY7" fmla="*/ 2908401 h 3063471"/>
                <a:gd name="connsiteX8" fmla="*/ 3762949 w 4425026"/>
                <a:gd name="connsiteY8" fmla="*/ 1948564 h 30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5026" h="3063471">
                  <a:moveTo>
                    <a:pt x="3762949" y="1948641"/>
                  </a:moveTo>
                  <a:cubicBezTo>
                    <a:pt x="3885128" y="1533127"/>
                    <a:pt x="4598295" y="1336594"/>
                    <a:pt x="4385718" y="971448"/>
                  </a:cubicBezTo>
                  <a:cubicBezTo>
                    <a:pt x="4184094" y="625586"/>
                    <a:pt x="3287967" y="14927"/>
                    <a:pt x="2884795" y="735"/>
                  </a:cubicBezTo>
                  <a:cubicBezTo>
                    <a:pt x="2443596" y="-14769"/>
                    <a:pt x="2060325" y="217863"/>
                    <a:pt x="1695410" y="432677"/>
                  </a:cubicBezTo>
                  <a:cubicBezTo>
                    <a:pt x="1351399" y="635150"/>
                    <a:pt x="122214" y="447718"/>
                    <a:pt x="10603" y="833304"/>
                  </a:cubicBezTo>
                  <a:cubicBezTo>
                    <a:pt x="-110418" y="1251362"/>
                    <a:pt x="840318" y="1802706"/>
                    <a:pt x="1041789" y="2175951"/>
                  </a:cubicBezTo>
                  <a:cubicBezTo>
                    <a:pt x="1339983" y="2730842"/>
                    <a:pt x="1686617" y="2854485"/>
                    <a:pt x="2069581" y="2965634"/>
                  </a:cubicBezTo>
                  <a:cubicBezTo>
                    <a:pt x="2487022" y="3086809"/>
                    <a:pt x="2789228" y="3124141"/>
                    <a:pt x="3154065" y="2908401"/>
                  </a:cubicBezTo>
                  <a:cubicBezTo>
                    <a:pt x="3494528" y="2707240"/>
                    <a:pt x="3650644" y="2330524"/>
                    <a:pt x="3762949" y="194856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9444C39-97FB-3A62-0ABD-153B353844AD}"/>
                </a:ext>
              </a:extLst>
            </p:cNvPr>
            <p:cNvSpPr/>
            <p:nvPr/>
          </p:nvSpPr>
          <p:spPr>
            <a:xfrm>
              <a:off x="3526436" y="2746166"/>
              <a:ext cx="4516838" cy="3129085"/>
            </a:xfrm>
            <a:custGeom>
              <a:avLst/>
              <a:gdLst>
                <a:gd name="connsiteX0" fmla="*/ 3753086 w 4516838"/>
                <a:gd name="connsiteY0" fmla="*/ 2004037 h 3129085"/>
                <a:gd name="connsiteX1" fmla="*/ 4482992 w 4516838"/>
                <a:gd name="connsiteY1" fmla="*/ 1005942 h 3129085"/>
                <a:gd name="connsiteX2" fmla="*/ 2850866 w 4516838"/>
                <a:gd name="connsiteY2" fmla="*/ 1059 h 3129085"/>
                <a:gd name="connsiteX3" fmla="*/ 1632171 w 4516838"/>
                <a:gd name="connsiteY3" fmla="*/ 511136 h 3129085"/>
                <a:gd name="connsiteX4" fmla="*/ 9147 w 4516838"/>
                <a:gd name="connsiteY4" fmla="*/ 965447 h 3129085"/>
                <a:gd name="connsiteX5" fmla="*/ 1011871 w 4516838"/>
                <a:gd name="connsiteY5" fmla="*/ 2212681 h 3129085"/>
                <a:gd name="connsiteX6" fmla="*/ 2046065 w 4516838"/>
                <a:gd name="connsiteY6" fmla="*/ 3075871 h 3129085"/>
                <a:gd name="connsiteX7" fmla="*/ 3080644 w 4516838"/>
                <a:gd name="connsiteY7" fmla="*/ 2910345 h 3129085"/>
                <a:gd name="connsiteX8" fmla="*/ 3753163 w 4516838"/>
                <a:gd name="connsiteY8" fmla="*/ 2004114 h 312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6838" h="3129085">
                  <a:moveTo>
                    <a:pt x="3753086" y="2004037"/>
                  </a:moveTo>
                  <a:cubicBezTo>
                    <a:pt x="3864928" y="1598166"/>
                    <a:pt x="4692561" y="1365534"/>
                    <a:pt x="4482992" y="1005942"/>
                  </a:cubicBezTo>
                  <a:cubicBezTo>
                    <a:pt x="4274888" y="649589"/>
                    <a:pt x="3260286" y="21962"/>
                    <a:pt x="2850866" y="1059"/>
                  </a:cubicBezTo>
                  <a:cubicBezTo>
                    <a:pt x="2423783" y="-20770"/>
                    <a:pt x="1990992" y="299870"/>
                    <a:pt x="1632171" y="511136"/>
                  </a:cubicBezTo>
                  <a:cubicBezTo>
                    <a:pt x="1276976" y="720166"/>
                    <a:pt x="115667" y="570837"/>
                    <a:pt x="9147" y="965447"/>
                  </a:cubicBezTo>
                  <a:cubicBezTo>
                    <a:pt x="-100767" y="1372553"/>
                    <a:pt x="812252" y="1847149"/>
                    <a:pt x="1011871" y="2212681"/>
                  </a:cubicBezTo>
                  <a:cubicBezTo>
                    <a:pt x="1302892" y="2748444"/>
                    <a:pt x="1654000" y="2969583"/>
                    <a:pt x="2046065" y="3075871"/>
                  </a:cubicBezTo>
                  <a:cubicBezTo>
                    <a:pt x="2452939" y="3186094"/>
                    <a:pt x="2721978" y="3122305"/>
                    <a:pt x="3080644" y="2910345"/>
                  </a:cubicBezTo>
                  <a:cubicBezTo>
                    <a:pt x="3431906" y="2702935"/>
                    <a:pt x="3645563" y="2394405"/>
                    <a:pt x="3753163" y="200411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9173D2B-B33B-BF34-FD2B-4FF8A0647538}"/>
                </a:ext>
              </a:extLst>
            </p:cNvPr>
            <p:cNvSpPr/>
            <p:nvPr/>
          </p:nvSpPr>
          <p:spPr>
            <a:xfrm>
              <a:off x="3586413" y="2696421"/>
              <a:ext cx="4609879" cy="3215724"/>
            </a:xfrm>
            <a:custGeom>
              <a:avLst/>
              <a:gdLst>
                <a:gd name="connsiteX0" fmla="*/ 3743322 w 4609879"/>
                <a:gd name="connsiteY0" fmla="*/ 2059413 h 3215724"/>
                <a:gd name="connsiteX1" fmla="*/ 4580365 w 4609879"/>
                <a:gd name="connsiteY1" fmla="*/ 1040414 h 3215724"/>
                <a:gd name="connsiteX2" fmla="*/ 2817037 w 4609879"/>
                <a:gd name="connsiteY2" fmla="*/ 1361 h 3215724"/>
                <a:gd name="connsiteX3" fmla="*/ 1568955 w 4609879"/>
                <a:gd name="connsiteY3" fmla="*/ 589575 h 3215724"/>
                <a:gd name="connsiteX4" fmla="*/ 7791 w 4609879"/>
                <a:gd name="connsiteY4" fmla="*/ 1097493 h 3215724"/>
                <a:gd name="connsiteX5" fmla="*/ 981976 w 4609879"/>
                <a:gd name="connsiteY5" fmla="*/ 2249313 h 3215724"/>
                <a:gd name="connsiteX6" fmla="*/ 2022571 w 4609879"/>
                <a:gd name="connsiteY6" fmla="*/ 3185934 h 3215724"/>
                <a:gd name="connsiteX7" fmla="*/ 3007169 w 4609879"/>
                <a:gd name="connsiteY7" fmla="*/ 2912190 h 3215724"/>
                <a:gd name="connsiteX8" fmla="*/ 3743322 w 4609879"/>
                <a:gd name="connsiteY8" fmla="*/ 2059567 h 32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9879" h="3215724">
                  <a:moveTo>
                    <a:pt x="3743322" y="2059413"/>
                  </a:moveTo>
                  <a:cubicBezTo>
                    <a:pt x="3845138" y="1663337"/>
                    <a:pt x="4786926" y="1394376"/>
                    <a:pt x="4580365" y="1040414"/>
                  </a:cubicBezTo>
                  <a:cubicBezTo>
                    <a:pt x="4365783" y="673495"/>
                    <a:pt x="3232782" y="29284"/>
                    <a:pt x="2817037" y="1361"/>
                  </a:cubicBezTo>
                  <a:cubicBezTo>
                    <a:pt x="2401292" y="-26560"/>
                    <a:pt x="1921836" y="381934"/>
                    <a:pt x="1568955" y="589575"/>
                  </a:cubicBezTo>
                  <a:cubicBezTo>
                    <a:pt x="1202498" y="805237"/>
                    <a:pt x="108757" y="693858"/>
                    <a:pt x="7791" y="1097493"/>
                  </a:cubicBezTo>
                  <a:cubicBezTo>
                    <a:pt x="-91324" y="1493568"/>
                    <a:pt x="784362" y="1891418"/>
                    <a:pt x="981976" y="2249313"/>
                  </a:cubicBezTo>
                  <a:cubicBezTo>
                    <a:pt x="1265746" y="2765947"/>
                    <a:pt x="1621328" y="3084968"/>
                    <a:pt x="2022571" y="3185934"/>
                  </a:cubicBezTo>
                  <a:cubicBezTo>
                    <a:pt x="2418724" y="3285589"/>
                    <a:pt x="2654827" y="3120217"/>
                    <a:pt x="3007169" y="2912190"/>
                  </a:cubicBezTo>
                  <a:cubicBezTo>
                    <a:pt x="3369229" y="2698533"/>
                    <a:pt x="3640813" y="2458265"/>
                    <a:pt x="3743322" y="205956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EAF9973-CABB-3F3A-AE8A-FF85AFF46093}"/>
                </a:ext>
              </a:extLst>
            </p:cNvPr>
            <p:cNvSpPr/>
            <p:nvPr/>
          </p:nvSpPr>
          <p:spPr>
            <a:xfrm>
              <a:off x="3646345" y="2646648"/>
              <a:ext cx="4703818" cy="3313713"/>
            </a:xfrm>
            <a:custGeom>
              <a:avLst/>
              <a:gdLst>
                <a:gd name="connsiteX0" fmla="*/ 3733681 w 4703818"/>
                <a:gd name="connsiteY0" fmla="*/ 2114893 h 3313713"/>
                <a:gd name="connsiteX1" fmla="*/ 4677784 w 4703818"/>
                <a:gd name="connsiteY1" fmla="*/ 1074915 h 3313713"/>
                <a:gd name="connsiteX2" fmla="*/ 2783330 w 4703818"/>
                <a:gd name="connsiteY2" fmla="*/ 1615 h 3313713"/>
                <a:gd name="connsiteX3" fmla="*/ 1505937 w 4703818"/>
                <a:gd name="connsiteY3" fmla="*/ 667886 h 3313713"/>
                <a:gd name="connsiteX4" fmla="*/ 6557 w 4703818"/>
                <a:gd name="connsiteY4" fmla="*/ 1229411 h 3313713"/>
                <a:gd name="connsiteX5" fmla="*/ 952280 w 4703818"/>
                <a:gd name="connsiteY5" fmla="*/ 2285819 h 3313713"/>
                <a:gd name="connsiteX6" fmla="*/ 1999200 w 4703818"/>
                <a:gd name="connsiteY6" fmla="*/ 3295947 h 3313713"/>
                <a:gd name="connsiteX7" fmla="*/ 2933893 w 4703818"/>
                <a:gd name="connsiteY7" fmla="*/ 2913910 h 3313713"/>
                <a:gd name="connsiteX8" fmla="*/ 3733681 w 4703818"/>
                <a:gd name="connsiteY8" fmla="*/ 2114816 h 33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3818" h="3313713">
                  <a:moveTo>
                    <a:pt x="3733681" y="2114893"/>
                  </a:moveTo>
                  <a:cubicBezTo>
                    <a:pt x="3825777" y="1728690"/>
                    <a:pt x="4881491" y="1423323"/>
                    <a:pt x="4677784" y="1074915"/>
                  </a:cubicBezTo>
                  <a:cubicBezTo>
                    <a:pt x="4456722" y="697428"/>
                    <a:pt x="3205245" y="37019"/>
                    <a:pt x="2783330" y="1615"/>
                  </a:cubicBezTo>
                  <a:cubicBezTo>
                    <a:pt x="2384478" y="-31860"/>
                    <a:pt x="1852725" y="463871"/>
                    <a:pt x="1505937" y="667886"/>
                  </a:cubicBezTo>
                  <a:cubicBezTo>
                    <a:pt x="1128296" y="890105"/>
                    <a:pt x="101738" y="816675"/>
                    <a:pt x="6557" y="1229411"/>
                  </a:cubicBezTo>
                  <a:cubicBezTo>
                    <a:pt x="-82223" y="1614457"/>
                    <a:pt x="756517" y="1935560"/>
                    <a:pt x="952280" y="2285819"/>
                  </a:cubicBezTo>
                  <a:cubicBezTo>
                    <a:pt x="1228877" y="2783324"/>
                    <a:pt x="1588778" y="3200611"/>
                    <a:pt x="1999200" y="3295947"/>
                  </a:cubicBezTo>
                  <a:cubicBezTo>
                    <a:pt x="2384478" y="3385421"/>
                    <a:pt x="2587799" y="3118157"/>
                    <a:pt x="2933893" y="2913910"/>
                  </a:cubicBezTo>
                  <a:cubicBezTo>
                    <a:pt x="3306752" y="2694082"/>
                    <a:pt x="3636494" y="2522076"/>
                    <a:pt x="3733681" y="21148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A497C17-15AE-BB63-C1A5-05992D744449}"/>
                </a:ext>
              </a:extLst>
            </p:cNvPr>
            <p:cNvSpPr/>
            <p:nvPr/>
          </p:nvSpPr>
          <p:spPr>
            <a:xfrm>
              <a:off x="3706188" y="2596973"/>
              <a:ext cx="4798420" cy="3416920"/>
            </a:xfrm>
            <a:custGeom>
              <a:avLst/>
              <a:gdLst>
                <a:gd name="connsiteX0" fmla="*/ 3724051 w 4798420"/>
                <a:gd name="connsiteY0" fmla="*/ 2170199 h 3416920"/>
                <a:gd name="connsiteX1" fmla="*/ 4775292 w 4798420"/>
                <a:gd name="connsiteY1" fmla="*/ 1109318 h 3416920"/>
                <a:gd name="connsiteX2" fmla="*/ 2749635 w 4798420"/>
                <a:gd name="connsiteY2" fmla="*/ 1848 h 3416920"/>
                <a:gd name="connsiteX3" fmla="*/ 1442932 w 4798420"/>
                <a:gd name="connsiteY3" fmla="*/ 746255 h 3416920"/>
                <a:gd name="connsiteX4" fmla="*/ 5412 w 4798420"/>
                <a:gd name="connsiteY4" fmla="*/ 1361387 h 3416920"/>
                <a:gd name="connsiteX5" fmla="*/ 922596 w 4798420"/>
                <a:gd name="connsiteY5" fmla="*/ 2322304 h 3416920"/>
                <a:gd name="connsiteX6" fmla="*/ 1975918 w 4798420"/>
                <a:gd name="connsiteY6" fmla="*/ 3405863 h 3416920"/>
                <a:gd name="connsiteX7" fmla="*/ 2860706 w 4798420"/>
                <a:gd name="connsiteY7" fmla="*/ 2915608 h 3416920"/>
                <a:gd name="connsiteX8" fmla="*/ 3724129 w 4798420"/>
                <a:gd name="connsiteY8" fmla="*/ 2170122 h 341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98420" h="3416920">
                  <a:moveTo>
                    <a:pt x="3724051" y="2170199"/>
                  </a:moveTo>
                  <a:cubicBezTo>
                    <a:pt x="3806815" y="1793946"/>
                    <a:pt x="4975991" y="1452172"/>
                    <a:pt x="4775292" y="1109318"/>
                  </a:cubicBezTo>
                  <a:cubicBezTo>
                    <a:pt x="4547751" y="721341"/>
                    <a:pt x="3177798" y="45042"/>
                    <a:pt x="2749635" y="1848"/>
                  </a:cubicBezTo>
                  <a:cubicBezTo>
                    <a:pt x="2364821" y="-36950"/>
                    <a:pt x="1783627" y="545787"/>
                    <a:pt x="1442932" y="746255"/>
                  </a:cubicBezTo>
                  <a:cubicBezTo>
                    <a:pt x="1054030" y="975107"/>
                    <a:pt x="94192" y="939472"/>
                    <a:pt x="5412" y="1361387"/>
                  </a:cubicBezTo>
                  <a:cubicBezTo>
                    <a:pt x="-73263" y="1735248"/>
                    <a:pt x="728761" y="1979759"/>
                    <a:pt x="922596" y="2322304"/>
                  </a:cubicBezTo>
                  <a:cubicBezTo>
                    <a:pt x="1191943" y="2800681"/>
                    <a:pt x="1556163" y="3316697"/>
                    <a:pt x="1975918" y="3405863"/>
                  </a:cubicBezTo>
                  <a:cubicBezTo>
                    <a:pt x="2350320" y="3485463"/>
                    <a:pt x="2520860" y="3115999"/>
                    <a:pt x="2860706" y="2915608"/>
                  </a:cubicBezTo>
                  <a:cubicBezTo>
                    <a:pt x="3244364" y="2689532"/>
                    <a:pt x="3632649" y="2585944"/>
                    <a:pt x="3724129" y="2170122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5087C1-14FF-8D63-D16B-C576BE6EAFCC}"/>
                </a:ext>
              </a:extLst>
            </p:cNvPr>
            <p:cNvSpPr/>
            <p:nvPr/>
          </p:nvSpPr>
          <p:spPr>
            <a:xfrm>
              <a:off x="3765757" y="2547325"/>
              <a:ext cx="4893698" cy="3522930"/>
            </a:xfrm>
            <a:custGeom>
              <a:avLst/>
              <a:gdLst>
                <a:gd name="connsiteX0" fmla="*/ 3714695 w 4893698"/>
                <a:gd name="connsiteY0" fmla="*/ 2225478 h 3522930"/>
                <a:gd name="connsiteX1" fmla="*/ 4872995 w 4893698"/>
                <a:gd name="connsiteY1" fmla="*/ 1143693 h 3522930"/>
                <a:gd name="connsiteX2" fmla="*/ 2716137 w 4893698"/>
                <a:gd name="connsiteY2" fmla="*/ 2054 h 3522930"/>
                <a:gd name="connsiteX3" fmla="*/ 1380123 w 4893698"/>
                <a:gd name="connsiteY3" fmla="*/ 824596 h 3522930"/>
                <a:gd name="connsiteX4" fmla="*/ 4386 w 4893698"/>
                <a:gd name="connsiteY4" fmla="*/ 1493335 h 3522930"/>
                <a:gd name="connsiteX5" fmla="*/ 893031 w 4893698"/>
                <a:gd name="connsiteY5" fmla="*/ 2358840 h 3522930"/>
                <a:gd name="connsiteX6" fmla="*/ 1952756 w 4893698"/>
                <a:gd name="connsiteY6" fmla="*/ 3515905 h 3522930"/>
                <a:gd name="connsiteX7" fmla="*/ 2787562 w 4893698"/>
                <a:gd name="connsiteY7" fmla="*/ 2917357 h 3522930"/>
                <a:gd name="connsiteX8" fmla="*/ 3714541 w 4893698"/>
                <a:gd name="connsiteY8" fmla="*/ 2225478 h 352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3698" h="3522930">
                  <a:moveTo>
                    <a:pt x="3714695" y="2225478"/>
                  </a:moveTo>
                  <a:cubicBezTo>
                    <a:pt x="3788357" y="1859175"/>
                    <a:pt x="5070764" y="1480917"/>
                    <a:pt x="4872995" y="1143693"/>
                  </a:cubicBezTo>
                  <a:cubicBezTo>
                    <a:pt x="4639053" y="745149"/>
                    <a:pt x="3150470" y="53347"/>
                    <a:pt x="2716137" y="2054"/>
                  </a:cubicBezTo>
                  <a:cubicBezTo>
                    <a:pt x="2345360" y="-41757"/>
                    <a:pt x="1714801" y="627676"/>
                    <a:pt x="1380123" y="824596"/>
                  </a:cubicBezTo>
                  <a:cubicBezTo>
                    <a:pt x="980036" y="1060081"/>
                    <a:pt x="86455" y="1062164"/>
                    <a:pt x="4386" y="1493335"/>
                  </a:cubicBezTo>
                  <a:cubicBezTo>
                    <a:pt x="-64647" y="1856012"/>
                    <a:pt x="701202" y="2023930"/>
                    <a:pt x="893031" y="2358840"/>
                  </a:cubicBezTo>
                  <a:cubicBezTo>
                    <a:pt x="1155205" y="2818087"/>
                    <a:pt x="1523590" y="3433219"/>
                    <a:pt x="1952756" y="3515905"/>
                  </a:cubicBezTo>
                  <a:cubicBezTo>
                    <a:pt x="2316282" y="3585942"/>
                    <a:pt x="2454040" y="3113968"/>
                    <a:pt x="2787562" y="2917357"/>
                  </a:cubicBezTo>
                  <a:cubicBezTo>
                    <a:pt x="3182018" y="2685033"/>
                    <a:pt x="3629232" y="2649938"/>
                    <a:pt x="3714541" y="22254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220DA7-5B8B-7783-CBAF-082148CB982D}"/>
                </a:ext>
              </a:extLst>
            </p:cNvPr>
            <p:cNvSpPr/>
            <p:nvPr/>
          </p:nvSpPr>
          <p:spPr>
            <a:xfrm>
              <a:off x="3825389" y="2497697"/>
              <a:ext cx="4989429" cy="3630406"/>
            </a:xfrm>
            <a:custGeom>
              <a:avLst/>
              <a:gdLst>
                <a:gd name="connsiteX0" fmla="*/ 3705354 w 4989429"/>
                <a:gd name="connsiteY0" fmla="*/ 2280737 h 3630406"/>
                <a:gd name="connsiteX1" fmla="*/ 4970792 w 4989429"/>
                <a:gd name="connsiteY1" fmla="*/ 1178049 h 3630406"/>
                <a:gd name="connsiteX2" fmla="*/ 2682730 w 4989429"/>
                <a:gd name="connsiteY2" fmla="*/ 2241 h 3630406"/>
                <a:gd name="connsiteX3" fmla="*/ 1317406 w 4989429"/>
                <a:gd name="connsiteY3" fmla="*/ 902918 h 3630406"/>
                <a:gd name="connsiteX4" fmla="*/ 3453 w 4989429"/>
                <a:gd name="connsiteY4" fmla="*/ 1625341 h 3630406"/>
                <a:gd name="connsiteX5" fmla="*/ 863635 w 4989429"/>
                <a:gd name="connsiteY5" fmla="*/ 2395433 h 3630406"/>
                <a:gd name="connsiteX6" fmla="*/ 1929762 w 4989429"/>
                <a:gd name="connsiteY6" fmla="*/ 3625929 h 3630406"/>
                <a:gd name="connsiteX7" fmla="*/ 2714663 w 4989429"/>
                <a:gd name="connsiteY7" fmla="*/ 2919163 h 3630406"/>
                <a:gd name="connsiteX8" fmla="*/ 3705277 w 4989429"/>
                <a:gd name="connsiteY8" fmla="*/ 2280814 h 36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429" h="3630406">
                  <a:moveTo>
                    <a:pt x="3705354" y="2280737"/>
                  </a:moveTo>
                  <a:cubicBezTo>
                    <a:pt x="3770145" y="1924384"/>
                    <a:pt x="5165629" y="1509720"/>
                    <a:pt x="4970792" y="1178049"/>
                  </a:cubicBezTo>
                  <a:cubicBezTo>
                    <a:pt x="4730370" y="769015"/>
                    <a:pt x="3123080" y="62173"/>
                    <a:pt x="2682730" y="2241"/>
                  </a:cubicBezTo>
                  <a:cubicBezTo>
                    <a:pt x="2325838" y="-46353"/>
                    <a:pt x="1645991" y="709546"/>
                    <a:pt x="1317406" y="902918"/>
                  </a:cubicBezTo>
                  <a:cubicBezTo>
                    <a:pt x="906058" y="1144960"/>
                    <a:pt x="78271" y="1184760"/>
                    <a:pt x="3453" y="1625341"/>
                  </a:cubicBezTo>
                  <a:cubicBezTo>
                    <a:pt x="-56171" y="1976757"/>
                    <a:pt x="673658" y="2068236"/>
                    <a:pt x="863635" y="2395433"/>
                  </a:cubicBezTo>
                  <a:cubicBezTo>
                    <a:pt x="1118636" y="2835628"/>
                    <a:pt x="1491186" y="3550339"/>
                    <a:pt x="1929762" y="3625929"/>
                  </a:cubicBezTo>
                  <a:cubicBezTo>
                    <a:pt x="2282335" y="3686709"/>
                    <a:pt x="2387313" y="3111917"/>
                    <a:pt x="2714663" y="2919163"/>
                  </a:cubicBezTo>
                  <a:cubicBezTo>
                    <a:pt x="3119918" y="2680592"/>
                    <a:pt x="3626525" y="2714067"/>
                    <a:pt x="3705277" y="228081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1E9563E-232F-6D7D-6E91-AA89D98E19CB}"/>
                </a:ext>
              </a:extLst>
            </p:cNvPr>
            <p:cNvSpPr/>
            <p:nvPr/>
          </p:nvSpPr>
          <p:spPr>
            <a:xfrm>
              <a:off x="3884910" y="2448010"/>
              <a:ext cx="5085470" cy="3738674"/>
            </a:xfrm>
            <a:custGeom>
              <a:avLst/>
              <a:gdLst>
                <a:gd name="connsiteX0" fmla="*/ 5068621 w 5085470"/>
                <a:gd name="connsiteY0" fmla="*/ 1212464 h 3738674"/>
                <a:gd name="connsiteX1" fmla="*/ 2649357 w 5085470"/>
                <a:gd name="connsiteY1" fmla="*/ 2408 h 3738674"/>
                <a:gd name="connsiteX2" fmla="*/ 1254723 w 5085470"/>
                <a:gd name="connsiteY2" fmla="*/ 981143 h 3738674"/>
                <a:gd name="connsiteX3" fmla="*/ 2629 w 5085470"/>
                <a:gd name="connsiteY3" fmla="*/ 1757174 h 3738674"/>
                <a:gd name="connsiteX4" fmla="*/ 834273 w 5085470"/>
                <a:gd name="connsiteY4" fmla="*/ 2431853 h 3738674"/>
                <a:gd name="connsiteX5" fmla="*/ 1906801 w 5085470"/>
                <a:gd name="connsiteY5" fmla="*/ 3735856 h 3738674"/>
                <a:gd name="connsiteX6" fmla="*/ 2641798 w 5085470"/>
                <a:gd name="connsiteY6" fmla="*/ 2920796 h 3738674"/>
                <a:gd name="connsiteX7" fmla="*/ 3696046 w 5085470"/>
                <a:gd name="connsiteY7" fmla="*/ 2336054 h 3738674"/>
                <a:gd name="connsiteX8" fmla="*/ 5068621 w 5085470"/>
                <a:gd name="connsiteY8" fmla="*/ 1212464 h 373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5470" h="3738674">
                  <a:moveTo>
                    <a:pt x="5068621" y="1212464"/>
                  </a:moveTo>
                  <a:cubicBezTo>
                    <a:pt x="4821720" y="792863"/>
                    <a:pt x="3095646" y="71519"/>
                    <a:pt x="2649357" y="2408"/>
                  </a:cubicBezTo>
                  <a:cubicBezTo>
                    <a:pt x="2306348" y="-50736"/>
                    <a:pt x="1577214" y="791397"/>
                    <a:pt x="1254723" y="981143"/>
                  </a:cubicBezTo>
                  <a:cubicBezTo>
                    <a:pt x="832190" y="1229819"/>
                    <a:pt x="69503" y="1307260"/>
                    <a:pt x="2629" y="1757174"/>
                  </a:cubicBezTo>
                  <a:cubicBezTo>
                    <a:pt x="-47970" y="2097406"/>
                    <a:pt x="646301" y="2112292"/>
                    <a:pt x="834273" y="2431853"/>
                  </a:cubicBezTo>
                  <a:cubicBezTo>
                    <a:pt x="1082023" y="2852919"/>
                    <a:pt x="1458738" y="3667825"/>
                    <a:pt x="1906801" y="3735856"/>
                  </a:cubicBezTo>
                  <a:cubicBezTo>
                    <a:pt x="2248499" y="3787689"/>
                    <a:pt x="2320695" y="3109771"/>
                    <a:pt x="2641798" y="2920796"/>
                  </a:cubicBezTo>
                  <a:cubicBezTo>
                    <a:pt x="3057851" y="2675977"/>
                    <a:pt x="3624313" y="2778024"/>
                    <a:pt x="3696046" y="2336054"/>
                  </a:cubicBezTo>
                  <a:cubicBezTo>
                    <a:pt x="3752276" y="1989652"/>
                    <a:pt x="5260450" y="1538503"/>
                    <a:pt x="5068621" y="121246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grpSp>
        <p:nvGrpSpPr>
          <p:cNvPr id="21" name="Graphic 5">
            <a:extLst>
              <a:ext uri="{FF2B5EF4-FFF2-40B4-BE49-F238E27FC236}">
                <a16:creationId xmlns:a16="http://schemas.microsoft.com/office/drawing/2014/main" id="{6E2AD9B1-DD97-C321-2A22-ACD4D0C0E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5202683">
            <a:off x="380142" y="-711257"/>
            <a:ext cx="11293051" cy="14437261"/>
            <a:chOff x="4061078" y="1549502"/>
            <a:chExt cx="3873961" cy="4952549"/>
          </a:xfrm>
          <a:noFill/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16FCD24-CBA1-2B9C-DAAC-674AF4DFCDAB}"/>
                </a:ext>
              </a:extLst>
            </p:cNvPr>
            <p:cNvSpPr/>
            <p:nvPr/>
          </p:nvSpPr>
          <p:spPr>
            <a:xfrm>
              <a:off x="4475868" y="1549502"/>
              <a:ext cx="3007008" cy="4952549"/>
            </a:xfrm>
            <a:custGeom>
              <a:avLst/>
              <a:gdLst>
                <a:gd name="connsiteX0" fmla="*/ 2976817 w 3007008"/>
                <a:gd name="connsiteY0" fmla="*/ 2669180 h 4952549"/>
                <a:gd name="connsiteX1" fmla="*/ 2432801 w 3007008"/>
                <a:gd name="connsiteY1" fmla="*/ 1308330 h 4952549"/>
                <a:gd name="connsiteX2" fmla="*/ 1795840 w 3007008"/>
                <a:gd name="connsiteY2" fmla="*/ 7 h 4952549"/>
                <a:gd name="connsiteX3" fmla="*/ 437072 w 3007008"/>
                <a:gd name="connsiteY3" fmla="*/ 1607682 h 4952549"/>
                <a:gd name="connsiteX4" fmla="*/ 310112 w 3007008"/>
                <a:gd name="connsiteY4" fmla="*/ 2718545 h 4952549"/>
                <a:gd name="connsiteX5" fmla="*/ 413007 w 3007008"/>
                <a:gd name="connsiteY5" fmla="*/ 3875302 h 4952549"/>
                <a:gd name="connsiteX6" fmla="*/ 1776248 w 3007008"/>
                <a:gd name="connsiteY6" fmla="*/ 4952536 h 4952549"/>
                <a:gd name="connsiteX7" fmla="*/ 2522815 w 3007008"/>
                <a:gd name="connsiteY7" fmla="*/ 3870057 h 4952549"/>
                <a:gd name="connsiteX8" fmla="*/ 2976817 w 3007008"/>
                <a:gd name="connsiteY8" fmla="*/ 2669180 h 49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7008" h="4952549">
                  <a:moveTo>
                    <a:pt x="2976817" y="2669180"/>
                  </a:moveTo>
                  <a:cubicBezTo>
                    <a:pt x="2795478" y="2205613"/>
                    <a:pt x="2780206" y="1596883"/>
                    <a:pt x="2432801" y="1308330"/>
                  </a:cubicBezTo>
                  <a:cubicBezTo>
                    <a:pt x="2165768" y="1086497"/>
                    <a:pt x="2170087" y="2861"/>
                    <a:pt x="1795840" y="7"/>
                  </a:cubicBezTo>
                  <a:cubicBezTo>
                    <a:pt x="1305585" y="-3772"/>
                    <a:pt x="857599" y="1434442"/>
                    <a:pt x="437072" y="1607682"/>
                  </a:cubicBezTo>
                  <a:cubicBezTo>
                    <a:pt x="-439463" y="1968739"/>
                    <a:pt x="265838" y="2328563"/>
                    <a:pt x="310112" y="2718545"/>
                  </a:cubicBezTo>
                  <a:cubicBezTo>
                    <a:pt x="365185" y="3203940"/>
                    <a:pt x="63519" y="3586749"/>
                    <a:pt x="413007" y="3875302"/>
                  </a:cubicBezTo>
                  <a:cubicBezTo>
                    <a:pt x="679500" y="4095361"/>
                    <a:pt x="1403775" y="4949682"/>
                    <a:pt x="1776248" y="4952536"/>
                  </a:cubicBezTo>
                  <a:cubicBezTo>
                    <a:pt x="2258944" y="4956238"/>
                    <a:pt x="2234184" y="4212294"/>
                    <a:pt x="2522815" y="3870057"/>
                  </a:cubicBezTo>
                  <a:cubicBezTo>
                    <a:pt x="2749045" y="3601790"/>
                    <a:pt x="3114576" y="3021444"/>
                    <a:pt x="2976817" y="2669180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F5F97C-2A24-14AF-6584-A3A8ECF098B7}"/>
                </a:ext>
              </a:extLst>
            </p:cNvPr>
            <p:cNvSpPr/>
            <p:nvPr/>
          </p:nvSpPr>
          <p:spPr>
            <a:xfrm>
              <a:off x="4482456" y="1627788"/>
              <a:ext cx="3018571" cy="4778052"/>
            </a:xfrm>
            <a:custGeom>
              <a:avLst/>
              <a:gdLst>
                <a:gd name="connsiteX0" fmla="*/ 1752691 w 3018571"/>
                <a:gd name="connsiteY0" fmla="*/ 4776677 h 4778052"/>
                <a:gd name="connsiteX1" fmla="*/ 2591277 w 3018571"/>
                <a:gd name="connsiteY1" fmla="*/ 3811826 h 4778052"/>
                <a:gd name="connsiteX2" fmla="*/ 2984730 w 3018571"/>
                <a:gd name="connsiteY2" fmla="*/ 2584107 h 4778052"/>
                <a:gd name="connsiteX3" fmla="*/ 2466168 w 3018571"/>
                <a:gd name="connsiteY3" fmla="*/ 1202817 h 4778052"/>
                <a:gd name="connsiteX4" fmla="*/ 1720373 w 3018571"/>
                <a:gd name="connsiteY4" fmla="*/ 11 h 4778052"/>
                <a:gd name="connsiteX5" fmla="*/ 440974 w 3018571"/>
                <a:gd name="connsiteY5" fmla="*/ 1547522 h 4778052"/>
                <a:gd name="connsiteX6" fmla="*/ 238116 w 3018571"/>
                <a:gd name="connsiteY6" fmla="*/ 2690858 h 4778052"/>
                <a:gd name="connsiteX7" fmla="*/ 359985 w 3018571"/>
                <a:gd name="connsiteY7" fmla="*/ 3853863 h 4778052"/>
                <a:gd name="connsiteX8" fmla="*/ 1752691 w 3018571"/>
                <a:gd name="connsiteY8" fmla="*/ 4776754 h 47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8571" h="4778052">
                  <a:moveTo>
                    <a:pt x="1752691" y="4776677"/>
                  </a:moveTo>
                  <a:cubicBezTo>
                    <a:pt x="2216181" y="4812235"/>
                    <a:pt x="2306966" y="4149435"/>
                    <a:pt x="2591277" y="3811826"/>
                  </a:cubicBezTo>
                  <a:cubicBezTo>
                    <a:pt x="2825220" y="3533917"/>
                    <a:pt x="3119172" y="2944162"/>
                    <a:pt x="2984730" y="2584107"/>
                  </a:cubicBezTo>
                  <a:cubicBezTo>
                    <a:pt x="2815579" y="2131107"/>
                    <a:pt x="2808174" y="1486896"/>
                    <a:pt x="2466168" y="1202817"/>
                  </a:cubicBezTo>
                  <a:cubicBezTo>
                    <a:pt x="2189185" y="972730"/>
                    <a:pt x="2101099" y="-3845"/>
                    <a:pt x="1720373" y="11"/>
                  </a:cubicBezTo>
                  <a:cubicBezTo>
                    <a:pt x="1244079" y="4794"/>
                    <a:pt x="830648" y="1354614"/>
                    <a:pt x="440974" y="1547522"/>
                  </a:cubicBezTo>
                  <a:cubicBezTo>
                    <a:pt x="-382030" y="1955091"/>
                    <a:pt x="190216" y="2298408"/>
                    <a:pt x="238116" y="2690858"/>
                  </a:cubicBezTo>
                  <a:cubicBezTo>
                    <a:pt x="294422" y="3162909"/>
                    <a:pt x="16205" y="3569861"/>
                    <a:pt x="359985" y="3853863"/>
                  </a:cubicBezTo>
                  <a:cubicBezTo>
                    <a:pt x="635965" y="4081944"/>
                    <a:pt x="1362169" y="4746827"/>
                    <a:pt x="1752691" y="4776754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2F5352-2A7A-DCA0-1AE5-32FF00140120}"/>
                </a:ext>
              </a:extLst>
            </p:cNvPr>
            <p:cNvSpPr/>
            <p:nvPr/>
          </p:nvSpPr>
          <p:spPr>
            <a:xfrm>
              <a:off x="4484173" y="1705758"/>
              <a:ext cx="3036493" cy="4605873"/>
            </a:xfrm>
            <a:custGeom>
              <a:avLst/>
              <a:gdLst>
                <a:gd name="connsiteX0" fmla="*/ 1734082 w 3036493"/>
                <a:gd name="connsiteY0" fmla="*/ 4601058 h 4605873"/>
                <a:gd name="connsiteX1" fmla="*/ 2664764 w 3036493"/>
                <a:gd name="connsiteY1" fmla="*/ 3753833 h 4605873"/>
                <a:gd name="connsiteX2" fmla="*/ 2997591 w 3036493"/>
                <a:gd name="connsiteY2" fmla="*/ 2499272 h 4605873"/>
                <a:gd name="connsiteX3" fmla="*/ 2504559 w 3036493"/>
                <a:gd name="connsiteY3" fmla="*/ 1097465 h 4605873"/>
                <a:gd name="connsiteX4" fmla="*/ 1649930 w 3036493"/>
                <a:gd name="connsiteY4" fmla="*/ 100 h 4605873"/>
                <a:gd name="connsiteX5" fmla="*/ 449901 w 3036493"/>
                <a:gd name="connsiteY5" fmla="*/ 1487524 h 4605873"/>
                <a:gd name="connsiteX6" fmla="*/ 171221 w 3036493"/>
                <a:gd name="connsiteY6" fmla="*/ 2663410 h 4605873"/>
                <a:gd name="connsiteX7" fmla="*/ 311988 w 3036493"/>
                <a:gd name="connsiteY7" fmla="*/ 3832586 h 4605873"/>
                <a:gd name="connsiteX8" fmla="*/ 1734159 w 3036493"/>
                <a:gd name="connsiteY8" fmla="*/ 4601135 h 460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493" h="4605873">
                  <a:moveTo>
                    <a:pt x="1734082" y="4601058"/>
                  </a:moveTo>
                  <a:cubicBezTo>
                    <a:pt x="2177440" y="4664460"/>
                    <a:pt x="2384618" y="4086814"/>
                    <a:pt x="2664764" y="3753833"/>
                  </a:cubicBezTo>
                  <a:cubicBezTo>
                    <a:pt x="2906420" y="3466283"/>
                    <a:pt x="3128562" y="2867271"/>
                    <a:pt x="2997591" y="2499272"/>
                  </a:cubicBezTo>
                  <a:cubicBezTo>
                    <a:pt x="2840240" y="2056917"/>
                    <a:pt x="2841089" y="1377070"/>
                    <a:pt x="2504559" y="1097465"/>
                  </a:cubicBezTo>
                  <a:cubicBezTo>
                    <a:pt x="2217549" y="859048"/>
                    <a:pt x="2037290" y="-10699"/>
                    <a:pt x="1649930" y="100"/>
                  </a:cubicBezTo>
                  <a:cubicBezTo>
                    <a:pt x="1187597" y="12981"/>
                    <a:pt x="808491" y="1275410"/>
                    <a:pt x="449901" y="1487524"/>
                  </a:cubicBezTo>
                  <a:cubicBezTo>
                    <a:pt x="-320113" y="1942838"/>
                    <a:pt x="120622" y="2268337"/>
                    <a:pt x="171221" y="2663410"/>
                  </a:cubicBezTo>
                  <a:cubicBezTo>
                    <a:pt x="229996" y="3121963"/>
                    <a:pt x="-26007" y="3553212"/>
                    <a:pt x="311988" y="3832586"/>
                  </a:cubicBezTo>
                  <a:cubicBezTo>
                    <a:pt x="597533" y="4068688"/>
                    <a:pt x="1324122" y="4542514"/>
                    <a:pt x="1734159" y="4601135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B894D36-E67C-72FB-9AA7-218C6CE8BFF6}"/>
                </a:ext>
              </a:extLst>
            </p:cNvPr>
            <p:cNvSpPr/>
            <p:nvPr/>
          </p:nvSpPr>
          <p:spPr>
            <a:xfrm>
              <a:off x="4477865" y="1783678"/>
              <a:ext cx="3064583" cy="4435839"/>
            </a:xfrm>
            <a:custGeom>
              <a:avLst/>
              <a:gdLst>
                <a:gd name="connsiteX0" fmla="*/ 1723421 w 3064583"/>
                <a:gd name="connsiteY0" fmla="*/ 4425487 h 4435839"/>
                <a:gd name="connsiteX1" fmla="*/ 2746122 w 3064583"/>
                <a:gd name="connsiteY1" fmla="*/ 3695890 h 4435839"/>
                <a:gd name="connsiteX2" fmla="*/ 3018400 w 3064583"/>
                <a:gd name="connsiteY2" fmla="*/ 2414487 h 4435839"/>
                <a:gd name="connsiteX3" fmla="*/ 2550822 w 3064583"/>
                <a:gd name="connsiteY3" fmla="*/ 992240 h 4435839"/>
                <a:gd name="connsiteX4" fmla="*/ 1587359 w 3064583"/>
                <a:gd name="connsiteY4" fmla="*/ 315 h 4435839"/>
                <a:gd name="connsiteX5" fmla="*/ 466700 w 3064583"/>
                <a:gd name="connsiteY5" fmla="*/ 1427576 h 4435839"/>
                <a:gd name="connsiteX6" fmla="*/ 112198 w 3064583"/>
                <a:gd name="connsiteY6" fmla="*/ 2635935 h 4435839"/>
                <a:gd name="connsiteX7" fmla="*/ 271940 w 3064583"/>
                <a:gd name="connsiteY7" fmla="*/ 3811281 h 4435839"/>
                <a:gd name="connsiteX8" fmla="*/ 1723498 w 3064583"/>
                <a:gd name="connsiteY8" fmla="*/ 4425487 h 4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4583" h="4435839">
                  <a:moveTo>
                    <a:pt x="1723421" y="4425487"/>
                  </a:moveTo>
                  <a:cubicBezTo>
                    <a:pt x="2146185" y="4513187"/>
                    <a:pt x="2470296" y="4024167"/>
                    <a:pt x="2746122" y="3695890"/>
                  </a:cubicBezTo>
                  <a:cubicBezTo>
                    <a:pt x="2995492" y="3398699"/>
                    <a:pt x="3145592" y="2790508"/>
                    <a:pt x="3018400" y="2414487"/>
                  </a:cubicBezTo>
                  <a:cubicBezTo>
                    <a:pt x="2872465" y="1983084"/>
                    <a:pt x="2881952" y="1267371"/>
                    <a:pt x="2550822" y="992240"/>
                  </a:cubicBezTo>
                  <a:cubicBezTo>
                    <a:pt x="2253785" y="745493"/>
                    <a:pt x="1981275" y="-17734"/>
                    <a:pt x="1587359" y="315"/>
                  </a:cubicBezTo>
                  <a:cubicBezTo>
                    <a:pt x="1138987" y="20832"/>
                    <a:pt x="794205" y="1197181"/>
                    <a:pt x="466700" y="1427576"/>
                  </a:cubicBezTo>
                  <a:cubicBezTo>
                    <a:pt x="-250479" y="1932100"/>
                    <a:pt x="58205" y="2238316"/>
                    <a:pt x="112198" y="2635935"/>
                  </a:cubicBezTo>
                  <a:cubicBezTo>
                    <a:pt x="172593" y="3081144"/>
                    <a:pt x="-60347" y="3536534"/>
                    <a:pt x="271940" y="3811281"/>
                  </a:cubicBezTo>
                  <a:cubicBezTo>
                    <a:pt x="566972" y="4055483"/>
                    <a:pt x="1293253" y="4336245"/>
                    <a:pt x="1723498" y="4425487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5073F6B-2D95-23DA-C710-D108C7E6D4D6}"/>
                </a:ext>
              </a:extLst>
            </p:cNvPr>
            <p:cNvSpPr/>
            <p:nvPr/>
          </p:nvSpPr>
          <p:spPr>
            <a:xfrm>
              <a:off x="4460130" y="1861400"/>
              <a:ext cx="3107969" cy="4268490"/>
            </a:xfrm>
            <a:custGeom>
              <a:avLst/>
              <a:gdLst>
                <a:gd name="connsiteX0" fmla="*/ 1724263 w 3107969"/>
                <a:gd name="connsiteY0" fmla="*/ 4250116 h 4268490"/>
                <a:gd name="connsiteX1" fmla="*/ 2838983 w 3107969"/>
                <a:gd name="connsiteY1" fmla="*/ 3638145 h 4268490"/>
                <a:gd name="connsiteX2" fmla="*/ 3050712 w 3107969"/>
                <a:gd name="connsiteY2" fmla="*/ 2329900 h 4268490"/>
                <a:gd name="connsiteX3" fmla="*/ 2608666 w 3107969"/>
                <a:gd name="connsiteY3" fmla="*/ 887212 h 4268490"/>
                <a:gd name="connsiteX4" fmla="*/ 1536291 w 3107969"/>
                <a:gd name="connsiteY4" fmla="*/ 728 h 4268490"/>
                <a:gd name="connsiteX5" fmla="*/ 495001 w 3107969"/>
                <a:gd name="connsiteY5" fmla="*/ 1367826 h 4268490"/>
                <a:gd name="connsiteX6" fmla="*/ 64601 w 3107969"/>
                <a:gd name="connsiteY6" fmla="*/ 2608657 h 4268490"/>
                <a:gd name="connsiteX7" fmla="*/ 243317 w 3107969"/>
                <a:gd name="connsiteY7" fmla="*/ 3790251 h 4268490"/>
                <a:gd name="connsiteX8" fmla="*/ 1724340 w 3107969"/>
                <a:gd name="connsiteY8" fmla="*/ 4250116 h 426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7969" h="4268490">
                  <a:moveTo>
                    <a:pt x="1724263" y="4250116"/>
                  </a:moveTo>
                  <a:cubicBezTo>
                    <a:pt x="2126510" y="4359027"/>
                    <a:pt x="2567400" y="3961794"/>
                    <a:pt x="2838983" y="3638145"/>
                  </a:cubicBezTo>
                  <a:cubicBezTo>
                    <a:pt x="3096066" y="3331235"/>
                    <a:pt x="3173893" y="2714020"/>
                    <a:pt x="3050712" y="2329900"/>
                  </a:cubicBezTo>
                  <a:cubicBezTo>
                    <a:pt x="2915808" y="1909528"/>
                    <a:pt x="2934396" y="1157793"/>
                    <a:pt x="2608666" y="887212"/>
                  </a:cubicBezTo>
                  <a:cubicBezTo>
                    <a:pt x="2301601" y="632135"/>
                    <a:pt x="1936918" y="-24880"/>
                    <a:pt x="1536291" y="728"/>
                  </a:cubicBezTo>
                  <a:cubicBezTo>
                    <a:pt x="1101957" y="28496"/>
                    <a:pt x="791576" y="1119844"/>
                    <a:pt x="495001" y="1367826"/>
                  </a:cubicBezTo>
                  <a:cubicBezTo>
                    <a:pt x="-169265" y="1923180"/>
                    <a:pt x="7215" y="2208570"/>
                    <a:pt x="64601" y="2608657"/>
                  </a:cubicBezTo>
                  <a:cubicBezTo>
                    <a:pt x="126539" y="3040445"/>
                    <a:pt x="-83262" y="3520055"/>
                    <a:pt x="243317" y="3790251"/>
                  </a:cubicBezTo>
                  <a:cubicBezTo>
                    <a:pt x="547914" y="4042475"/>
                    <a:pt x="1273500" y="4128092"/>
                    <a:pt x="1724340" y="42501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CA512BE-CBB1-0A9E-B44C-2FE6E0D88BBB}"/>
                </a:ext>
              </a:extLst>
            </p:cNvPr>
            <p:cNvSpPr/>
            <p:nvPr/>
          </p:nvSpPr>
          <p:spPr>
            <a:xfrm>
              <a:off x="4426209" y="1938811"/>
              <a:ext cx="3173562" cy="4104897"/>
            </a:xfrm>
            <a:custGeom>
              <a:avLst/>
              <a:gdLst>
                <a:gd name="connsiteX0" fmla="*/ 1741215 w 3173562"/>
                <a:gd name="connsiteY0" fmla="*/ 4075055 h 4104897"/>
                <a:gd name="connsiteX1" fmla="*/ 2947955 w 3173562"/>
                <a:gd name="connsiteY1" fmla="*/ 3580712 h 4104897"/>
                <a:gd name="connsiteX2" fmla="*/ 3099057 w 3173562"/>
                <a:gd name="connsiteY2" fmla="*/ 2245625 h 4104897"/>
                <a:gd name="connsiteX3" fmla="*/ 2682464 w 3173562"/>
                <a:gd name="connsiteY3" fmla="*/ 782497 h 4104897"/>
                <a:gd name="connsiteX4" fmla="*/ 1501255 w 3173562"/>
                <a:gd name="connsiteY4" fmla="*/ 1452 h 4104897"/>
                <a:gd name="connsiteX5" fmla="*/ 539335 w 3173562"/>
                <a:gd name="connsiteY5" fmla="*/ 1308387 h 4104897"/>
                <a:gd name="connsiteX6" fmla="*/ 33114 w 3173562"/>
                <a:gd name="connsiteY6" fmla="*/ 2581691 h 4104897"/>
                <a:gd name="connsiteX7" fmla="*/ 230727 w 3173562"/>
                <a:gd name="connsiteY7" fmla="*/ 3769455 h 4104897"/>
                <a:gd name="connsiteX8" fmla="*/ 1741215 w 3173562"/>
                <a:gd name="connsiteY8" fmla="*/ 4074978 h 410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3562" h="4104897">
                  <a:moveTo>
                    <a:pt x="1741215" y="4075055"/>
                  </a:moveTo>
                  <a:cubicBezTo>
                    <a:pt x="2123407" y="4202555"/>
                    <a:pt x="2680613" y="3899655"/>
                    <a:pt x="2947955" y="3580712"/>
                  </a:cubicBezTo>
                  <a:cubicBezTo>
                    <a:pt x="3212750" y="3264160"/>
                    <a:pt x="3218073" y="2637921"/>
                    <a:pt x="3099057" y="2245625"/>
                  </a:cubicBezTo>
                  <a:cubicBezTo>
                    <a:pt x="2974874" y="1836359"/>
                    <a:pt x="3002796" y="1048604"/>
                    <a:pt x="2682464" y="782497"/>
                  </a:cubicBezTo>
                  <a:cubicBezTo>
                    <a:pt x="2365449" y="519089"/>
                    <a:pt x="1908516" y="-31946"/>
                    <a:pt x="1501255" y="1452"/>
                  </a:cubicBezTo>
                  <a:cubicBezTo>
                    <a:pt x="1080960" y="36008"/>
                    <a:pt x="805288" y="1043668"/>
                    <a:pt x="539335" y="1308387"/>
                  </a:cubicBezTo>
                  <a:cubicBezTo>
                    <a:pt x="-71324" y="1916191"/>
                    <a:pt x="-27821" y="2179059"/>
                    <a:pt x="33114" y="2581691"/>
                  </a:cubicBezTo>
                  <a:cubicBezTo>
                    <a:pt x="96440" y="3000135"/>
                    <a:pt x="-90144" y="3503888"/>
                    <a:pt x="230727" y="3769455"/>
                  </a:cubicBezTo>
                  <a:cubicBezTo>
                    <a:pt x="544811" y="4029701"/>
                    <a:pt x="1270089" y="3917782"/>
                    <a:pt x="1741215" y="4074978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BE74B79-17A9-96D1-1E2F-A11A98EA9449}"/>
                </a:ext>
              </a:extLst>
            </p:cNvPr>
            <p:cNvSpPr/>
            <p:nvPr/>
          </p:nvSpPr>
          <p:spPr>
            <a:xfrm>
              <a:off x="4376099" y="2015664"/>
              <a:ext cx="3263713" cy="3947335"/>
            </a:xfrm>
            <a:custGeom>
              <a:avLst/>
              <a:gdLst>
                <a:gd name="connsiteX0" fmla="*/ 1774433 w 3263713"/>
                <a:gd name="connsiteY0" fmla="*/ 3900552 h 3947335"/>
                <a:gd name="connsiteX1" fmla="*/ 3073192 w 3263713"/>
                <a:gd name="connsiteY1" fmla="*/ 3523836 h 3947335"/>
                <a:gd name="connsiteX2" fmla="*/ 3163745 w 3263713"/>
                <a:gd name="connsiteY2" fmla="*/ 2161907 h 3947335"/>
                <a:gd name="connsiteX3" fmla="*/ 2772683 w 3263713"/>
                <a:gd name="connsiteY3" fmla="*/ 678262 h 3947335"/>
                <a:gd name="connsiteX4" fmla="*/ 1482563 w 3263713"/>
                <a:gd name="connsiteY4" fmla="*/ 2735 h 3947335"/>
                <a:gd name="connsiteX5" fmla="*/ 600012 w 3263713"/>
                <a:gd name="connsiteY5" fmla="*/ 1249583 h 3947335"/>
                <a:gd name="connsiteX6" fmla="*/ 17970 w 3263713"/>
                <a:gd name="connsiteY6" fmla="*/ 2555437 h 3947335"/>
                <a:gd name="connsiteX7" fmla="*/ 234558 w 3263713"/>
                <a:gd name="connsiteY7" fmla="*/ 3749449 h 3947335"/>
                <a:gd name="connsiteX8" fmla="*/ 1774433 w 3263713"/>
                <a:gd name="connsiteY8" fmla="*/ 3900629 h 394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3713" h="3947335">
                  <a:moveTo>
                    <a:pt x="1774433" y="3900552"/>
                  </a:moveTo>
                  <a:cubicBezTo>
                    <a:pt x="2137188" y="4044635"/>
                    <a:pt x="2810169" y="3838151"/>
                    <a:pt x="3073192" y="3523836"/>
                  </a:cubicBezTo>
                  <a:cubicBezTo>
                    <a:pt x="3345701" y="3197643"/>
                    <a:pt x="3278210" y="2562533"/>
                    <a:pt x="3163745" y="2161907"/>
                  </a:cubicBezTo>
                  <a:cubicBezTo>
                    <a:pt x="3049975" y="1763902"/>
                    <a:pt x="3087538" y="939895"/>
                    <a:pt x="2772683" y="678262"/>
                  </a:cubicBezTo>
                  <a:cubicBezTo>
                    <a:pt x="2445641" y="406524"/>
                    <a:pt x="1896534" y="-38994"/>
                    <a:pt x="1482563" y="2735"/>
                  </a:cubicBezTo>
                  <a:cubicBezTo>
                    <a:pt x="1068593" y="44463"/>
                    <a:pt x="835884" y="968666"/>
                    <a:pt x="600012" y="1249583"/>
                  </a:cubicBezTo>
                  <a:cubicBezTo>
                    <a:pt x="44118" y="1911380"/>
                    <a:pt x="-46590" y="2150260"/>
                    <a:pt x="17970" y="2555437"/>
                  </a:cubicBezTo>
                  <a:cubicBezTo>
                    <a:pt x="82530" y="2960460"/>
                    <a:pt x="-80606" y="3488355"/>
                    <a:pt x="234558" y="3749449"/>
                  </a:cubicBezTo>
                  <a:cubicBezTo>
                    <a:pt x="558206" y="4017716"/>
                    <a:pt x="1283870" y="3705792"/>
                    <a:pt x="1774433" y="390062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53F4EAC-7C98-35C3-4FD1-28932D6801AC}"/>
                </a:ext>
              </a:extLst>
            </p:cNvPr>
            <p:cNvSpPr/>
            <p:nvPr/>
          </p:nvSpPr>
          <p:spPr>
            <a:xfrm>
              <a:off x="4316854" y="2091550"/>
              <a:ext cx="3371549" cy="3814147"/>
            </a:xfrm>
            <a:custGeom>
              <a:avLst/>
              <a:gdLst>
                <a:gd name="connsiteX0" fmla="*/ 1816709 w 3371549"/>
                <a:gd name="connsiteY0" fmla="*/ 3727016 h 3814147"/>
                <a:gd name="connsiteX1" fmla="*/ 3207564 w 3371549"/>
                <a:gd name="connsiteY1" fmla="*/ 3467928 h 3814147"/>
                <a:gd name="connsiteX2" fmla="*/ 3237568 w 3371549"/>
                <a:gd name="connsiteY2" fmla="*/ 2079156 h 3814147"/>
                <a:gd name="connsiteX3" fmla="*/ 2871960 w 3371549"/>
                <a:gd name="connsiteY3" fmla="*/ 575071 h 3814147"/>
                <a:gd name="connsiteX4" fmla="*/ 1473006 w 3371549"/>
                <a:gd name="connsiteY4" fmla="*/ 4984 h 3814147"/>
                <a:gd name="connsiteX5" fmla="*/ 669824 w 3371549"/>
                <a:gd name="connsiteY5" fmla="*/ 1191668 h 3814147"/>
                <a:gd name="connsiteX6" fmla="*/ 11883 w 3371549"/>
                <a:gd name="connsiteY6" fmla="*/ 2529996 h 3814147"/>
                <a:gd name="connsiteX7" fmla="*/ 247369 w 3371549"/>
                <a:gd name="connsiteY7" fmla="*/ 3730178 h 3814147"/>
                <a:gd name="connsiteX8" fmla="*/ 1816709 w 3371549"/>
                <a:gd name="connsiteY8" fmla="*/ 3727016 h 38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1549" h="3814147">
                  <a:moveTo>
                    <a:pt x="1816709" y="3727016"/>
                  </a:moveTo>
                  <a:cubicBezTo>
                    <a:pt x="2160874" y="3886063"/>
                    <a:pt x="2948707" y="3777615"/>
                    <a:pt x="3207564" y="3467928"/>
                  </a:cubicBezTo>
                  <a:cubicBezTo>
                    <a:pt x="3487786" y="3132092"/>
                    <a:pt x="3347173" y="2488190"/>
                    <a:pt x="3237568" y="2079156"/>
                  </a:cubicBezTo>
                  <a:cubicBezTo>
                    <a:pt x="3133902" y="1692567"/>
                    <a:pt x="3181416" y="832231"/>
                    <a:pt x="2871960" y="575071"/>
                  </a:cubicBezTo>
                  <a:cubicBezTo>
                    <a:pt x="2534890" y="295002"/>
                    <a:pt x="1893533" y="-45307"/>
                    <a:pt x="1473006" y="4984"/>
                  </a:cubicBezTo>
                  <a:cubicBezTo>
                    <a:pt x="1080710" y="51880"/>
                    <a:pt x="876308" y="895248"/>
                    <a:pt x="669824" y="1191668"/>
                  </a:cubicBezTo>
                  <a:cubicBezTo>
                    <a:pt x="170313" y="1908693"/>
                    <a:pt x="-56379" y="2122427"/>
                    <a:pt x="11883" y="2529996"/>
                  </a:cubicBezTo>
                  <a:cubicBezTo>
                    <a:pt x="80145" y="2937564"/>
                    <a:pt x="-62010" y="3473713"/>
                    <a:pt x="247369" y="3730178"/>
                  </a:cubicBezTo>
                  <a:cubicBezTo>
                    <a:pt x="580505" y="4006544"/>
                    <a:pt x="1307942" y="3491916"/>
                    <a:pt x="1816709" y="3727016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51CD0F6-4814-4624-418E-7D81CCF62775}"/>
                </a:ext>
              </a:extLst>
            </p:cNvPr>
            <p:cNvSpPr/>
            <p:nvPr/>
          </p:nvSpPr>
          <p:spPr>
            <a:xfrm>
              <a:off x="4254170" y="2165535"/>
              <a:ext cx="3489733" cy="3780696"/>
            </a:xfrm>
            <a:custGeom>
              <a:avLst/>
              <a:gdLst>
                <a:gd name="connsiteX0" fmla="*/ 1862424 w 3489733"/>
                <a:gd name="connsiteY0" fmla="*/ 3555381 h 3780696"/>
                <a:gd name="connsiteX1" fmla="*/ 3345298 w 3489733"/>
                <a:gd name="connsiteY1" fmla="*/ 3413920 h 3780696"/>
                <a:gd name="connsiteX2" fmla="*/ 3314677 w 3489733"/>
                <a:gd name="connsiteY2" fmla="*/ 1998383 h 3780696"/>
                <a:gd name="connsiteX3" fmla="*/ 2974599 w 3489733"/>
                <a:gd name="connsiteY3" fmla="*/ 473858 h 3780696"/>
                <a:gd name="connsiteX4" fmla="*/ 1466734 w 3489733"/>
                <a:gd name="connsiteY4" fmla="*/ 9211 h 3780696"/>
                <a:gd name="connsiteX5" fmla="*/ 742922 w 3489733"/>
                <a:gd name="connsiteY5" fmla="*/ 1135733 h 3780696"/>
                <a:gd name="connsiteX6" fmla="*/ 9159 w 3489733"/>
                <a:gd name="connsiteY6" fmla="*/ 2506532 h 3780696"/>
                <a:gd name="connsiteX7" fmla="*/ 263620 w 3489733"/>
                <a:gd name="connsiteY7" fmla="*/ 3712886 h 3780696"/>
                <a:gd name="connsiteX8" fmla="*/ 1862424 w 3489733"/>
                <a:gd name="connsiteY8" fmla="*/ 3555381 h 378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9733" h="3780696">
                  <a:moveTo>
                    <a:pt x="1862424" y="3555381"/>
                  </a:moveTo>
                  <a:cubicBezTo>
                    <a:pt x="2188927" y="3728158"/>
                    <a:pt x="3090761" y="3718902"/>
                    <a:pt x="3345298" y="3413920"/>
                  </a:cubicBezTo>
                  <a:cubicBezTo>
                    <a:pt x="3633311" y="3068443"/>
                    <a:pt x="3419114" y="2415825"/>
                    <a:pt x="3314677" y="1998383"/>
                  </a:cubicBezTo>
                  <a:cubicBezTo>
                    <a:pt x="3220807" y="1623210"/>
                    <a:pt x="3278656" y="726467"/>
                    <a:pt x="2974599" y="473858"/>
                  </a:cubicBezTo>
                  <a:cubicBezTo>
                    <a:pt x="2627580" y="185459"/>
                    <a:pt x="1893894" y="-50104"/>
                    <a:pt x="1466734" y="9211"/>
                  </a:cubicBezTo>
                  <a:cubicBezTo>
                    <a:pt x="1088321" y="61816"/>
                    <a:pt x="920789" y="824040"/>
                    <a:pt x="742922" y="1135733"/>
                  </a:cubicBezTo>
                  <a:cubicBezTo>
                    <a:pt x="301800" y="1908755"/>
                    <a:pt x="-63037" y="2096496"/>
                    <a:pt x="9159" y="2506532"/>
                  </a:cubicBezTo>
                  <a:cubicBezTo>
                    <a:pt x="75802" y="2884945"/>
                    <a:pt x="-40051" y="3461048"/>
                    <a:pt x="263620" y="3712886"/>
                  </a:cubicBezTo>
                  <a:cubicBezTo>
                    <a:pt x="606320" y="3997273"/>
                    <a:pt x="1337228" y="3277473"/>
                    <a:pt x="1862424" y="355538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407F1AA-8FAC-0BF0-F1EA-406B1148741E}"/>
                </a:ext>
              </a:extLst>
            </p:cNvPr>
            <p:cNvSpPr/>
            <p:nvPr/>
          </p:nvSpPr>
          <p:spPr>
            <a:xfrm>
              <a:off x="4190357" y="2234963"/>
              <a:ext cx="3614123" cy="3758010"/>
            </a:xfrm>
            <a:custGeom>
              <a:avLst/>
              <a:gdLst>
                <a:gd name="connsiteX0" fmla="*/ 1909345 w 3614123"/>
                <a:gd name="connsiteY0" fmla="*/ 3388303 h 3758010"/>
                <a:gd name="connsiteX1" fmla="*/ 3484238 w 3614123"/>
                <a:gd name="connsiteY1" fmla="*/ 3364469 h 3758010"/>
                <a:gd name="connsiteX2" fmla="*/ 3393067 w 3614123"/>
                <a:gd name="connsiteY2" fmla="*/ 1922090 h 3758010"/>
                <a:gd name="connsiteX3" fmla="*/ 3078443 w 3614123"/>
                <a:gd name="connsiteY3" fmla="*/ 377125 h 3758010"/>
                <a:gd name="connsiteX4" fmla="*/ 1461744 w 3614123"/>
                <a:gd name="connsiteY4" fmla="*/ 17919 h 3758010"/>
                <a:gd name="connsiteX5" fmla="*/ 817301 w 3614123"/>
                <a:gd name="connsiteY5" fmla="*/ 1084276 h 3758010"/>
                <a:gd name="connsiteX6" fmla="*/ 7718 w 3614123"/>
                <a:gd name="connsiteY6" fmla="*/ 2487549 h 3758010"/>
                <a:gd name="connsiteX7" fmla="*/ 281153 w 3614123"/>
                <a:gd name="connsiteY7" fmla="*/ 3700150 h 3758010"/>
                <a:gd name="connsiteX8" fmla="*/ 1909345 w 3614123"/>
                <a:gd name="connsiteY8" fmla="*/ 3388303 h 375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4123" h="3758010">
                  <a:moveTo>
                    <a:pt x="1909345" y="3388303"/>
                  </a:moveTo>
                  <a:cubicBezTo>
                    <a:pt x="2219418" y="3574116"/>
                    <a:pt x="3233943" y="3664824"/>
                    <a:pt x="3484238" y="3364469"/>
                  </a:cubicBezTo>
                  <a:cubicBezTo>
                    <a:pt x="3779964" y="3009351"/>
                    <a:pt x="3491874" y="2348094"/>
                    <a:pt x="3393067" y="1922090"/>
                  </a:cubicBezTo>
                  <a:cubicBezTo>
                    <a:pt x="3308684" y="1558333"/>
                    <a:pt x="3377101" y="625260"/>
                    <a:pt x="3078443" y="377125"/>
                  </a:cubicBezTo>
                  <a:cubicBezTo>
                    <a:pt x="2721397" y="80473"/>
                    <a:pt x="1895307" y="-50884"/>
                    <a:pt x="1461744" y="17919"/>
                  </a:cubicBezTo>
                  <a:cubicBezTo>
                    <a:pt x="1097138" y="75845"/>
                    <a:pt x="967324" y="757388"/>
                    <a:pt x="817301" y="1084276"/>
                  </a:cubicBezTo>
                  <a:cubicBezTo>
                    <a:pt x="436652" y="1913683"/>
                    <a:pt x="-68566" y="2075121"/>
                    <a:pt x="7718" y="2487549"/>
                  </a:cubicBezTo>
                  <a:cubicBezTo>
                    <a:pt x="75286" y="2852695"/>
                    <a:pt x="-16810" y="3452863"/>
                    <a:pt x="281153" y="3700150"/>
                  </a:cubicBezTo>
                  <a:cubicBezTo>
                    <a:pt x="633340" y="3992560"/>
                    <a:pt x="1370034" y="3065041"/>
                    <a:pt x="1909345" y="3388303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362384B-F7B3-4E89-BF55-05E864E621F8}"/>
                </a:ext>
              </a:extLst>
            </p:cNvPr>
            <p:cNvSpPr/>
            <p:nvPr/>
          </p:nvSpPr>
          <p:spPr>
            <a:xfrm>
              <a:off x="4125770" y="2293347"/>
              <a:ext cx="3742715" cy="3749606"/>
            </a:xfrm>
            <a:custGeom>
              <a:avLst/>
              <a:gdLst>
                <a:gd name="connsiteX0" fmla="*/ 1956963 w 3742715"/>
                <a:gd name="connsiteY0" fmla="*/ 3232269 h 3749606"/>
                <a:gd name="connsiteX1" fmla="*/ 3623876 w 3742715"/>
                <a:gd name="connsiteY1" fmla="*/ 3326063 h 3749606"/>
                <a:gd name="connsiteX2" fmla="*/ 3472155 w 3742715"/>
                <a:gd name="connsiteY2" fmla="*/ 1856842 h 3749606"/>
                <a:gd name="connsiteX3" fmla="*/ 3183063 w 3742715"/>
                <a:gd name="connsiteY3" fmla="*/ 291359 h 3749606"/>
                <a:gd name="connsiteX4" fmla="*/ 1457529 w 3742715"/>
                <a:gd name="connsiteY4" fmla="*/ 37593 h 3749606"/>
                <a:gd name="connsiteX5" fmla="*/ 892456 w 3742715"/>
                <a:gd name="connsiteY5" fmla="*/ 1043864 h 3749606"/>
                <a:gd name="connsiteX6" fmla="*/ 6974 w 3742715"/>
                <a:gd name="connsiteY6" fmla="*/ 2479687 h 3749606"/>
                <a:gd name="connsiteX7" fmla="*/ 299306 w 3742715"/>
                <a:gd name="connsiteY7" fmla="*/ 3698459 h 3749606"/>
                <a:gd name="connsiteX8" fmla="*/ 1956963 w 3742715"/>
                <a:gd name="connsiteY8" fmla="*/ 3232269 h 374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2715" h="3749606">
                  <a:moveTo>
                    <a:pt x="1956963" y="3232269"/>
                  </a:moveTo>
                  <a:cubicBezTo>
                    <a:pt x="2251687" y="3430655"/>
                    <a:pt x="3377822" y="3621712"/>
                    <a:pt x="3623876" y="3326063"/>
                  </a:cubicBezTo>
                  <a:cubicBezTo>
                    <a:pt x="3927315" y="2961226"/>
                    <a:pt x="3564869" y="2291484"/>
                    <a:pt x="3472155" y="1856842"/>
                  </a:cubicBezTo>
                  <a:cubicBezTo>
                    <a:pt x="3397028" y="1504577"/>
                    <a:pt x="3476244" y="535021"/>
                    <a:pt x="3183063" y="291359"/>
                  </a:cubicBezTo>
                  <a:cubicBezTo>
                    <a:pt x="2815989" y="-13623"/>
                    <a:pt x="1897339" y="-41237"/>
                    <a:pt x="1457529" y="37593"/>
                  </a:cubicBezTo>
                  <a:cubicBezTo>
                    <a:pt x="1106653" y="100533"/>
                    <a:pt x="1015405" y="701550"/>
                    <a:pt x="892456" y="1043864"/>
                  </a:cubicBezTo>
                  <a:cubicBezTo>
                    <a:pt x="574361" y="1929346"/>
                    <a:pt x="-74247" y="2064945"/>
                    <a:pt x="6974" y="2479687"/>
                  </a:cubicBezTo>
                  <a:cubicBezTo>
                    <a:pt x="74696" y="2831643"/>
                    <a:pt x="7128" y="3455800"/>
                    <a:pt x="299306" y="3698459"/>
                  </a:cubicBezTo>
                  <a:cubicBezTo>
                    <a:pt x="661058" y="3998967"/>
                    <a:pt x="1405928" y="2861262"/>
                    <a:pt x="1956963" y="3232269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81AD1C4-87F1-A06E-D092-47EABA2A093E}"/>
                </a:ext>
              </a:extLst>
            </p:cNvPr>
            <p:cNvSpPr/>
            <p:nvPr/>
          </p:nvSpPr>
          <p:spPr>
            <a:xfrm>
              <a:off x="4061078" y="2330966"/>
              <a:ext cx="3873961" cy="3763840"/>
            </a:xfrm>
            <a:custGeom>
              <a:avLst/>
              <a:gdLst>
                <a:gd name="connsiteX0" fmla="*/ 3763695 w 3873961"/>
                <a:gd name="connsiteY0" fmla="*/ 3308421 h 3763840"/>
                <a:gd name="connsiteX1" fmla="*/ 3551425 w 3873961"/>
                <a:gd name="connsiteY1" fmla="*/ 1812358 h 3763840"/>
                <a:gd name="connsiteX2" fmla="*/ 3287786 w 3873961"/>
                <a:gd name="connsiteY2" fmla="*/ 226435 h 3763840"/>
                <a:gd name="connsiteX3" fmla="*/ 1453342 w 3873961"/>
                <a:gd name="connsiteY3" fmla="*/ 78186 h 3763840"/>
                <a:gd name="connsiteX4" fmla="*/ 967638 w 3873961"/>
                <a:gd name="connsiteY4" fmla="*/ 1024294 h 3763840"/>
                <a:gd name="connsiteX5" fmla="*/ 6334 w 3873961"/>
                <a:gd name="connsiteY5" fmla="*/ 2492590 h 3763840"/>
                <a:gd name="connsiteX6" fmla="*/ 317642 w 3873961"/>
                <a:gd name="connsiteY6" fmla="*/ 3717532 h 3763840"/>
                <a:gd name="connsiteX7" fmla="*/ 2004763 w 3873961"/>
                <a:gd name="connsiteY7" fmla="*/ 3096923 h 3763840"/>
                <a:gd name="connsiteX8" fmla="*/ 3763772 w 3873961"/>
                <a:gd name="connsiteY8" fmla="*/ 3308421 h 376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3961" h="3763840">
                  <a:moveTo>
                    <a:pt x="3763695" y="3308421"/>
                  </a:moveTo>
                  <a:cubicBezTo>
                    <a:pt x="4074847" y="2933942"/>
                    <a:pt x="3637583" y="2255716"/>
                    <a:pt x="3551425" y="1812358"/>
                  </a:cubicBezTo>
                  <a:cubicBezTo>
                    <a:pt x="3485169" y="1471586"/>
                    <a:pt x="3575568" y="465623"/>
                    <a:pt x="3287786" y="226435"/>
                  </a:cubicBezTo>
                  <a:cubicBezTo>
                    <a:pt x="2910685" y="-86878"/>
                    <a:pt x="1899323" y="-11288"/>
                    <a:pt x="1453342" y="78186"/>
                  </a:cubicBezTo>
                  <a:cubicBezTo>
                    <a:pt x="1116041" y="145831"/>
                    <a:pt x="1064131" y="666245"/>
                    <a:pt x="967638" y="1024294"/>
                  </a:cubicBezTo>
                  <a:cubicBezTo>
                    <a:pt x="714026" y="1965311"/>
                    <a:pt x="-78589" y="2075380"/>
                    <a:pt x="6334" y="2492590"/>
                  </a:cubicBezTo>
                  <a:cubicBezTo>
                    <a:pt x="75291" y="2831202"/>
                    <a:pt x="31094" y="3479501"/>
                    <a:pt x="317642" y="3717532"/>
                  </a:cubicBezTo>
                  <a:cubicBezTo>
                    <a:pt x="688958" y="4026062"/>
                    <a:pt x="1444780" y="2676242"/>
                    <a:pt x="2004763" y="3096923"/>
                  </a:cubicBezTo>
                  <a:cubicBezTo>
                    <a:pt x="2285294" y="3307727"/>
                    <a:pt x="3521961" y="3599365"/>
                    <a:pt x="3763772" y="3308421"/>
                  </a:cubicBezTo>
                  <a:close/>
                </a:path>
              </a:pathLst>
            </a:custGeom>
            <a:ln w="3175" cap="flat">
              <a:gradFill>
                <a:gsLst>
                  <a:gs pos="25000">
                    <a:srgbClr val="D44690">
                      <a:alpha val="0"/>
                    </a:srgbClr>
                  </a:gs>
                  <a:gs pos="0">
                    <a:srgbClr val="FEA38B"/>
                  </a:gs>
                  <a:gs pos="50000">
                    <a:schemeClr val="tx2"/>
                  </a:gs>
                  <a:gs pos="75000">
                    <a:schemeClr val="accent3">
                      <a:alpha val="0"/>
                    </a:schemeClr>
                  </a:gs>
                  <a:gs pos="100000">
                    <a:schemeClr val="accent6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CC7953C2-7813-DC75-B2DF-75B759F0C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DD94622-15CB-7659-2BDF-485FD1A85BF6}"/>
              </a:ext>
            </a:extLst>
          </p:cNvPr>
          <p:cNvSpPr/>
          <p:nvPr/>
        </p:nvSpPr>
        <p:spPr bwMode="auto">
          <a:xfrm>
            <a:off x="889148" y="1293872"/>
            <a:ext cx="10414976" cy="10414976"/>
          </a:xfrm>
          <a:prstGeom prst="ellipse">
            <a:avLst/>
          </a:prstGeom>
          <a:solidFill>
            <a:schemeClr val="bg1"/>
          </a:solidFill>
          <a:ln w="19050" cap="flat">
            <a:gradFill>
              <a:gsLst>
                <a:gs pos="25000">
                  <a:srgbClr val="D44690"/>
                </a:gs>
                <a:gs pos="0">
                  <a:srgbClr val="FEA38B"/>
                </a:gs>
                <a:gs pos="50000">
                  <a:schemeClr val="tx2"/>
                </a:gs>
                <a:gs pos="75000">
                  <a:schemeClr val="accent3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/>
          </a:ln>
          <a:effectLst>
            <a:outerShdw blurRad="50800" dist="38100" dir="54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Sio</a:t>
            </a: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Segoe UI Semibold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4B988BA1-D757-A649-5BA2-99E128005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871965" y="3418979"/>
            <a:ext cx="6449342" cy="6449343"/>
          </a:xfrm>
          <a:prstGeom prst="ellipse">
            <a:avLst/>
          </a:prstGeom>
          <a:solidFill>
            <a:schemeClr val="tx1">
              <a:lumMod val="75000"/>
              <a:lumOff val="25000"/>
              <a:alpha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Segoe UI" pitchFamily="34" charset="0"/>
            </a:endParaRPr>
          </a:p>
        </p:txBody>
      </p:sp>
      <p:sp>
        <p:nvSpPr>
          <p:cNvPr id="164" name="Title 38">
            <a:extLst>
              <a:ext uri="{FF2B5EF4-FFF2-40B4-BE49-F238E27FC236}">
                <a16:creationId xmlns:a16="http://schemas.microsoft.com/office/drawing/2014/main" id="{ECB6122E-8935-2ACD-36E4-2E8A7AC8AB6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6740" y="298893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Unlock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63000">
                      <a:srgbClr val="B641B3"/>
                    </a:gs>
                    <a:gs pos="0">
                      <a:srgbClr val="42BBB6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ny use case </a:t>
            </a: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with </a:t>
            </a:r>
            <a:r>
              <a:rPr kumimoji="0" lang="en-US" sz="30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zure AI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43220E19-84C6-FC58-3A3D-DED0897AE3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43636" y="1490981"/>
            <a:ext cx="9906000" cy="5901584"/>
            <a:chOff x="532566" y="258842"/>
            <a:chExt cx="11230362" cy="6690586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9F40D8F-01BD-32D6-5E79-E888CF9A08F6}"/>
                </a:ext>
              </a:extLst>
            </p:cNvPr>
            <p:cNvGrpSpPr/>
            <p:nvPr/>
          </p:nvGrpSpPr>
          <p:grpSpPr>
            <a:xfrm>
              <a:off x="532566" y="5818845"/>
              <a:ext cx="11230362" cy="266135"/>
              <a:chOff x="1153456" y="5820340"/>
              <a:chExt cx="9983031" cy="266135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7ED8D8C-3450-DDA1-1498-C24DEFF0C65D}"/>
                  </a:ext>
                </a:extLst>
              </p:cNvPr>
              <p:cNvCxnSpPr>
                <a:cxnSpLocks/>
                <a:endCxn id="19" idx="2"/>
              </p:cNvCxnSpPr>
              <p:nvPr/>
            </p:nvCxnSpPr>
            <p:spPr>
              <a:xfrm flipV="1">
                <a:off x="1153456" y="5820346"/>
                <a:ext cx="4055077" cy="262238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DED9650A-2A01-1E2F-0B5A-C92F7F8743B1}"/>
                  </a:ext>
                </a:extLst>
              </p:cNvPr>
              <p:cNvCxnSpPr>
                <a:cxnSpLocks/>
                <a:stCxn id="19" idx="6"/>
              </p:cNvCxnSpPr>
              <p:nvPr/>
            </p:nvCxnSpPr>
            <p:spPr>
              <a:xfrm>
                <a:off x="7081410" y="5820340"/>
                <a:ext cx="4055077" cy="266135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E7C988BC-2188-0482-34D8-59AAA78A0F63}"/>
                </a:ext>
              </a:extLst>
            </p:cNvPr>
            <p:cNvCxnSpPr>
              <a:cxnSpLocks/>
              <a:stCxn id="19" idx="0"/>
            </p:cNvCxnSpPr>
            <p:nvPr/>
          </p:nvCxnSpPr>
          <p:spPr>
            <a:xfrm flipH="1" flipV="1">
              <a:off x="6097122" y="267480"/>
              <a:ext cx="50625" cy="4497923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5E016616-EB29-F13F-43A3-B36F8443B989}"/>
                </a:ext>
              </a:extLst>
            </p:cNvPr>
            <p:cNvGrpSpPr/>
            <p:nvPr/>
          </p:nvGrpSpPr>
          <p:grpSpPr>
            <a:xfrm rot="2700000">
              <a:off x="2730445" y="469938"/>
              <a:ext cx="6690586" cy="6268394"/>
              <a:chOff x="972020" y="1216016"/>
              <a:chExt cx="6690586" cy="6268394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8E0A2A48-4C4A-BD89-5050-33D1298D2887}"/>
                  </a:ext>
                </a:extLst>
              </p:cNvPr>
              <p:cNvCxnSpPr>
                <a:cxnSpLocks/>
                <a:endCxn id="19" idx="1"/>
              </p:cNvCxnSpPr>
              <p:nvPr/>
            </p:nvCxnSpPr>
            <p:spPr>
              <a:xfrm rot="18900000">
                <a:off x="972020" y="4529741"/>
                <a:ext cx="3355587" cy="2954669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40343FDE-2DD3-F603-D477-626CF5B707C4}"/>
                  </a:ext>
                </a:extLst>
              </p:cNvPr>
              <p:cNvCxnSpPr>
                <a:cxnSpLocks/>
                <a:stCxn id="19" idx="7"/>
              </p:cNvCxnSpPr>
              <p:nvPr/>
            </p:nvCxnSpPr>
            <p:spPr>
              <a:xfrm rot="18900000" flipV="1">
                <a:off x="4444810" y="1216016"/>
                <a:ext cx="3217796" cy="2879972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5F14A246-F6DB-E60E-0EF1-62DEC6330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67423" y="5466096"/>
            <a:ext cx="1858426" cy="1858426"/>
          </a:xfrm>
          <a:prstGeom prst="ellipse">
            <a:avLst/>
          </a:prstGeom>
          <a:gradFill flip="none" rotWithShape="1">
            <a:gsLst>
              <a:gs pos="0">
                <a:srgbClr val="EE3774"/>
              </a:gs>
              <a:gs pos="100000">
                <a:srgbClr val="A047B5"/>
              </a:gs>
            </a:gsLst>
            <a:lin ang="2700000" scaled="1"/>
            <a:tileRect/>
          </a:gradFill>
          <a:ln w="38100" cap="flat">
            <a:solidFill>
              <a:schemeClr val="bg1"/>
            </a:solidFill>
            <a:prstDash val="solid"/>
            <a:miter/>
          </a:ln>
          <a:effectLst>
            <a:outerShdw blurRad="50800" dist="38100" dir="54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74" name="Title 38">
            <a:extLst>
              <a:ext uri="{FF2B5EF4-FFF2-40B4-BE49-F238E27FC236}">
                <a16:creationId xmlns:a16="http://schemas.microsoft.com/office/drawing/2014/main" id="{822950F1-A250-C014-A6C9-1D0D0A51AF51}"/>
              </a:ext>
            </a:extLst>
          </p:cNvPr>
          <p:cNvSpPr txBox="1">
            <a:spLocks/>
          </p:cNvSpPr>
          <p:nvPr/>
        </p:nvSpPr>
        <p:spPr>
          <a:xfrm>
            <a:off x="5005144" y="5841423"/>
            <a:ext cx="218298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Azure AI</a:t>
            </a:r>
          </a:p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Platform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84911729-3008-F811-677F-ADF06EBEA87A}"/>
              </a:ext>
            </a:extLst>
          </p:cNvPr>
          <p:cNvSpPr/>
          <p:nvPr/>
        </p:nvSpPr>
        <p:spPr>
          <a:xfrm>
            <a:off x="1500470" y="6044913"/>
            <a:ext cx="1100780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actions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C4958F24-F90A-7EB6-A7E1-475E693F5197}"/>
              </a:ext>
            </a:extLst>
          </p:cNvPr>
          <p:cNvSpPr/>
          <p:nvPr/>
        </p:nvSpPr>
        <p:spPr>
          <a:xfrm>
            <a:off x="2008830" y="4562496"/>
            <a:ext cx="1132806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intenance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E0F253D7-71B8-9DEC-2F5A-D60DED0BA03C}"/>
              </a:ext>
            </a:extLst>
          </p:cNvPr>
          <p:cNvSpPr/>
          <p:nvPr/>
        </p:nvSpPr>
        <p:spPr>
          <a:xfrm>
            <a:off x="2381302" y="4083227"/>
            <a:ext cx="883798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ventory</a:t>
            </a: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DE3B6DA1-2970-1813-E10B-360FB13CD332}"/>
              </a:ext>
            </a:extLst>
          </p:cNvPr>
          <p:cNvSpPr/>
          <p:nvPr/>
        </p:nvSpPr>
        <p:spPr>
          <a:xfrm>
            <a:off x="2148516" y="5012066"/>
            <a:ext cx="821484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obotics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840E59BA-BF91-EBC6-C85B-C195FF32BB85}"/>
              </a:ext>
            </a:extLst>
          </p:cNvPr>
          <p:cNvSpPr/>
          <p:nvPr/>
        </p:nvSpPr>
        <p:spPr>
          <a:xfrm>
            <a:off x="1697333" y="5564128"/>
            <a:ext cx="1143481" cy="236399"/>
          </a:xfrm>
          <a:prstGeom prst="roundRect">
            <a:avLst>
              <a:gd name="adj" fmla="val 4890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pply Chain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AEC09CDA-E4E7-9E78-4B6B-8D085D1F39BF}"/>
              </a:ext>
            </a:extLst>
          </p:cNvPr>
          <p:cNvSpPr/>
          <p:nvPr/>
        </p:nvSpPr>
        <p:spPr>
          <a:xfrm>
            <a:off x="3491866" y="6004384"/>
            <a:ext cx="1268522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hentication</a:t>
            </a: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F798ADB7-19B4-1A0E-6134-C0488F63C7BC}"/>
              </a:ext>
            </a:extLst>
          </p:cNvPr>
          <p:cNvSpPr/>
          <p:nvPr/>
        </p:nvSpPr>
        <p:spPr>
          <a:xfrm>
            <a:off x="3457023" y="4897617"/>
            <a:ext cx="896838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tection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0DD9A1FF-3E5F-3B40-C4FC-C4CDDED21ABE}"/>
              </a:ext>
            </a:extLst>
          </p:cNvPr>
          <p:cNvSpPr/>
          <p:nvPr/>
        </p:nvSpPr>
        <p:spPr>
          <a:xfrm>
            <a:off x="3245377" y="5642481"/>
            <a:ext cx="1013809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itoring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335405D4-27EE-06D8-1C50-8275E8983B66}"/>
              </a:ext>
            </a:extLst>
          </p:cNvPr>
          <p:cNvSpPr/>
          <p:nvPr/>
        </p:nvSpPr>
        <p:spPr>
          <a:xfrm>
            <a:off x="3752282" y="5255806"/>
            <a:ext cx="981610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ception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232ED517-69A3-DE67-E69B-6B91E1AEA201}"/>
              </a:ext>
            </a:extLst>
          </p:cNvPr>
          <p:cNvSpPr/>
          <p:nvPr/>
        </p:nvSpPr>
        <p:spPr>
          <a:xfrm>
            <a:off x="5019108" y="2847244"/>
            <a:ext cx="795174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riting</a:t>
            </a: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0D4E4798-789C-D383-3AB0-8DCCE054901D}"/>
              </a:ext>
            </a:extLst>
          </p:cNvPr>
          <p:cNvSpPr/>
          <p:nvPr/>
        </p:nvSpPr>
        <p:spPr>
          <a:xfrm>
            <a:off x="3797995" y="2641502"/>
            <a:ext cx="821483" cy="233124"/>
          </a:xfrm>
          <a:prstGeom prst="roundRect">
            <a:avLst>
              <a:gd name="adj" fmla="val 47635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92E67DD4-BA64-4736-4D6D-62A8F315D875}"/>
              </a:ext>
            </a:extLst>
          </p:cNvPr>
          <p:cNvSpPr/>
          <p:nvPr/>
        </p:nvSpPr>
        <p:spPr>
          <a:xfrm>
            <a:off x="3444523" y="3578445"/>
            <a:ext cx="916401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ing</a:t>
            </a: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4158E496-4CB8-66C4-4871-6BDF5BA286BB}"/>
              </a:ext>
            </a:extLst>
          </p:cNvPr>
          <p:cNvSpPr/>
          <p:nvPr/>
        </p:nvSpPr>
        <p:spPr>
          <a:xfrm>
            <a:off x="4711536" y="2407979"/>
            <a:ext cx="821484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9E2583EA-3A92-3080-8837-04E91BFA00F9}"/>
              </a:ext>
            </a:extLst>
          </p:cNvPr>
          <p:cNvSpPr/>
          <p:nvPr/>
        </p:nvSpPr>
        <p:spPr>
          <a:xfrm>
            <a:off x="4077186" y="3112868"/>
            <a:ext cx="906276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ding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5C174350-BF3A-7D2B-17B9-B14D36F917CD}"/>
              </a:ext>
            </a:extLst>
          </p:cNvPr>
          <p:cNvSpPr/>
          <p:nvPr/>
        </p:nvSpPr>
        <p:spPr>
          <a:xfrm>
            <a:off x="4761432" y="3844672"/>
            <a:ext cx="532259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&amp;A</a:t>
            </a:r>
          </a:p>
        </p:txBody>
      </p:sp>
      <p:sp>
        <p:nvSpPr>
          <p:cNvPr id="139" name="Rectangle: Rounded Corners 138">
            <a:extLst>
              <a:ext uri="{FF2B5EF4-FFF2-40B4-BE49-F238E27FC236}">
                <a16:creationId xmlns:a16="http://schemas.microsoft.com/office/drawing/2014/main" id="{06199FE4-E56A-968B-B164-B3F0C13AB502}"/>
              </a:ext>
            </a:extLst>
          </p:cNvPr>
          <p:cNvSpPr/>
          <p:nvPr/>
        </p:nvSpPr>
        <p:spPr>
          <a:xfrm>
            <a:off x="4682388" y="4678859"/>
            <a:ext cx="1285446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mmarization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3E0B9955-A61E-5917-79FD-E111776B7467}"/>
              </a:ext>
            </a:extLst>
          </p:cNvPr>
          <p:cNvSpPr/>
          <p:nvPr/>
        </p:nvSpPr>
        <p:spPr>
          <a:xfrm>
            <a:off x="5243080" y="5051471"/>
            <a:ext cx="525272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at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30AD9B33-7686-9EA6-9E33-D256766AEDD1}"/>
              </a:ext>
            </a:extLst>
          </p:cNvPr>
          <p:cNvSpPr/>
          <p:nvPr/>
        </p:nvSpPr>
        <p:spPr>
          <a:xfrm>
            <a:off x="4107951" y="4254596"/>
            <a:ext cx="1207170" cy="236399"/>
          </a:xfrm>
          <a:prstGeom prst="roundRect">
            <a:avLst>
              <a:gd name="adj" fmla="val 48955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ultimodality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E2C1DFE2-5183-662F-E319-9A371FA54E06}"/>
              </a:ext>
            </a:extLst>
          </p:cNvPr>
          <p:cNvSpPr/>
          <p:nvPr/>
        </p:nvSpPr>
        <p:spPr>
          <a:xfrm>
            <a:off x="7244906" y="3229481"/>
            <a:ext cx="1195249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sonalization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896E6D78-B992-5878-1EE3-57522A544448}"/>
              </a:ext>
            </a:extLst>
          </p:cNvPr>
          <p:cNvSpPr/>
          <p:nvPr/>
        </p:nvSpPr>
        <p:spPr>
          <a:xfrm>
            <a:off x="5761992" y="2407979"/>
            <a:ext cx="791120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ing</a:t>
            </a: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A5065B9F-6CC8-4394-672B-D29A77DB38CF}"/>
              </a:ext>
            </a:extLst>
          </p:cNvPr>
          <p:cNvSpPr/>
          <p:nvPr/>
        </p:nvSpPr>
        <p:spPr>
          <a:xfrm>
            <a:off x="6862431" y="2407979"/>
            <a:ext cx="1065513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Commerce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4AAE6E88-BCE4-3E0C-790F-009C962CC518}"/>
              </a:ext>
            </a:extLst>
          </p:cNvPr>
          <p:cNvSpPr/>
          <p:nvPr/>
        </p:nvSpPr>
        <p:spPr>
          <a:xfrm>
            <a:off x="7734353" y="2849543"/>
            <a:ext cx="1015085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ll Centers</a:t>
            </a: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052CFD33-48CC-64EF-BB25-09F44953C77E}"/>
              </a:ext>
            </a:extLst>
          </p:cNvPr>
          <p:cNvSpPr/>
          <p:nvPr/>
        </p:nvSpPr>
        <p:spPr>
          <a:xfrm>
            <a:off x="6188694" y="2870909"/>
            <a:ext cx="961728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lf-service</a:t>
            </a: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6D55E2B1-DB41-9815-6156-06953D6D0A79}"/>
              </a:ext>
            </a:extLst>
          </p:cNvPr>
          <p:cNvSpPr/>
          <p:nvPr/>
        </p:nvSpPr>
        <p:spPr>
          <a:xfrm>
            <a:off x="5537995" y="3832546"/>
            <a:ext cx="996574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lation</a:t>
            </a: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51FFEE58-735E-F611-13E8-9FC6BBA5C2CB}"/>
              </a:ext>
            </a:extLst>
          </p:cNvPr>
          <p:cNvSpPr/>
          <p:nvPr/>
        </p:nvSpPr>
        <p:spPr>
          <a:xfrm>
            <a:off x="6212283" y="5051471"/>
            <a:ext cx="938138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ntiment</a:t>
            </a:r>
          </a:p>
        </p:txBody>
      </p: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E2BB6176-200C-1DA6-089E-4692C26D823C}"/>
              </a:ext>
            </a:extLst>
          </p:cNvPr>
          <p:cNvSpPr/>
          <p:nvPr/>
        </p:nvSpPr>
        <p:spPr>
          <a:xfrm>
            <a:off x="6355746" y="4182756"/>
            <a:ext cx="1474939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s</a:t>
            </a: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5EF8BB35-F010-3948-0120-02C91808C7AE}"/>
              </a:ext>
            </a:extLst>
          </p:cNvPr>
          <p:cNvSpPr/>
          <p:nvPr/>
        </p:nvSpPr>
        <p:spPr>
          <a:xfrm>
            <a:off x="6226591" y="4596104"/>
            <a:ext cx="1125802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cription</a:t>
            </a:r>
          </a:p>
        </p:txBody>
      </p:sp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E7A3502A-0645-9999-C49C-04ADBEB9883A}"/>
              </a:ext>
            </a:extLst>
          </p:cNvPr>
          <p:cNvSpPr/>
          <p:nvPr/>
        </p:nvSpPr>
        <p:spPr>
          <a:xfrm>
            <a:off x="8826621" y="4072241"/>
            <a:ext cx="911546" cy="228213"/>
          </a:xfrm>
          <a:prstGeom prst="roundRect">
            <a:avLst>
              <a:gd name="adj" fmla="val 4482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terials</a:t>
            </a:r>
          </a:p>
        </p:txBody>
      </p:sp>
      <p:sp>
        <p:nvSpPr>
          <p:cNvPr id="153" name="Rectangle: Rounded Corners 152">
            <a:extLst>
              <a:ext uri="{FF2B5EF4-FFF2-40B4-BE49-F238E27FC236}">
                <a16:creationId xmlns:a16="http://schemas.microsoft.com/office/drawing/2014/main" id="{186E99DC-4ED2-F840-72F9-E10F77BE4698}"/>
              </a:ext>
            </a:extLst>
          </p:cNvPr>
          <p:cNvSpPr/>
          <p:nvPr/>
        </p:nvSpPr>
        <p:spPr>
          <a:xfrm>
            <a:off x="9592022" y="5989831"/>
            <a:ext cx="1014853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totyping</a:t>
            </a: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34E42AAD-ED07-77E8-6B30-20841A29295F}"/>
              </a:ext>
            </a:extLst>
          </p:cNvPr>
          <p:cNvSpPr/>
          <p:nvPr/>
        </p:nvSpPr>
        <p:spPr>
          <a:xfrm>
            <a:off x="9460323" y="4987924"/>
            <a:ext cx="827284" cy="228213"/>
          </a:xfrm>
          <a:prstGeom prst="roundRect">
            <a:avLst>
              <a:gd name="adj" fmla="val 4482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ing</a:t>
            </a: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B7F375D5-DFF3-3B38-1404-BAC910E31A1D}"/>
              </a:ext>
            </a:extLst>
          </p:cNvPr>
          <p:cNvSpPr/>
          <p:nvPr/>
        </p:nvSpPr>
        <p:spPr>
          <a:xfrm>
            <a:off x="9302107" y="5466095"/>
            <a:ext cx="1122545" cy="228213"/>
          </a:xfrm>
          <a:prstGeom prst="roundRect">
            <a:avLst>
              <a:gd name="adj" fmla="val 4482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curement</a:t>
            </a:r>
          </a:p>
        </p:txBody>
      </p:sp>
      <p:sp>
        <p:nvSpPr>
          <p:cNvPr id="156" name="Rectangle: Rounded Corners 155">
            <a:extLst>
              <a:ext uri="{FF2B5EF4-FFF2-40B4-BE49-F238E27FC236}">
                <a16:creationId xmlns:a16="http://schemas.microsoft.com/office/drawing/2014/main" id="{65AE0E86-FDB4-B0CB-79B0-BD9D12138FD0}"/>
              </a:ext>
            </a:extLst>
          </p:cNvPr>
          <p:cNvSpPr/>
          <p:nvPr/>
        </p:nvSpPr>
        <p:spPr>
          <a:xfrm>
            <a:off x="8038206" y="5664756"/>
            <a:ext cx="914866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spection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756F11AD-5856-6C8F-018E-A581168CC12E}"/>
              </a:ext>
            </a:extLst>
          </p:cNvPr>
          <p:cNvSpPr/>
          <p:nvPr/>
        </p:nvSpPr>
        <p:spPr>
          <a:xfrm>
            <a:off x="7910579" y="4988814"/>
            <a:ext cx="1014853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ptimization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EE9647AD-6FBC-2AB0-1551-EF80CB94B9D7}"/>
              </a:ext>
            </a:extLst>
          </p:cNvPr>
          <p:cNvSpPr/>
          <p:nvPr/>
        </p:nvSpPr>
        <p:spPr>
          <a:xfrm>
            <a:off x="7365848" y="5326785"/>
            <a:ext cx="1028889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ecasting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A6E536E6-B4E0-9805-D08F-099113DF5A39}"/>
              </a:ext>
            </a:extLst>
          </p:cNvPr>
          <p:cNvSpPr/>
          <p:nvPr/>
        </p:nvSpPr>
        <p:spPr>
          <a:xfrm>
            <a:off x="7444354" y="6002728"/>
            <a:ext cx="1090106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imul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8F085D6-7D1B-1442-5F48-6D7428A88452}"/>
              </a:ext>
            </a:extLst>
          </p:cNvPr>
          <p:cNvSpPr/>
          <p:nvPr/>
        </p:nvSpPr>
        <p:spPr bwMode="auto">
          <a:xfrm>
            <a:off x="5247219" y="1903743"/>
            <a:ext cx="1609523" cy="30295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C63BBA"/>
              </a:gs>
              <a:gs pos="100000">
                <a:srgbClr val="F33776"/>
              </a:gs>
            </a:gsLst>
            <a:lin ang="8100000" scaled="1"/>
            <a:tileRect/>
          </a:gra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UI" panose="020B0502040204020203" pitchFamily="34" charset="0"/>
              </a:rPr>
              <a:t>Top Use Case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38DA46A-F4F1-F722-45B5-5FB7FD7F6F58}"/>
              </a:ext>
            </a:extLst>
          </p:cNvPr>
          <p:cNvSpPr/>
          <p:nvPr/>
        </p:nvSpPr>
        <p:spPr bwMode="auto">
          <a:xfrm>
            <a:off x="5264852" y="3363088"/>
            <a:ext cx="1609523" cy="30295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C63BBA"/>
              </a:gs>
              <a:gs pos="100000">
                <a:srgbClr val="F33776"/>
              </a:gs>
            </a:gsLst>
            <a:lin ang="8100000" scaled="1"/>
            <a:tileRect/>
          </a:gra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UI" panose="020B0502040204020203" pitchFamily="34" charset="0"/>
              </a:rPr>
              <a:t>AI Capabilitie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D5146CB-DADD-64C1-D632-2B8EE2F55FA3}"/>
              </a:ext>
            </a:extLst>
          </p:cNvPr>
          <p:cNvSpPr/>
          <p:nvPr/>
        </p:nvSpPr>
        <p:spPr>
          <a:xfrm>
            <a:off x="8995722" y="4507936"/>
            <a:ext cx="761546" cy="228213"/>
          </a:xfrm>
          <a:prstGeom prst="roundRect">
            <a:avLst>
              <a:gd name="adj" fmla="val 4482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fety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09F8F43-68EB-6960-DAA0-BF2A71B81E9F}"/>
              </a:ext>
            </a:extLst>
          </p:cNvPr>
          <p:cNvSpPr/>
          <p:nvPr/>
        </p:nvSpPr>
        <p:spPr>
          <a:xfrm>
            <a:off x="2970229" y="3152065"/>
            <a:ext cx="821483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atio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A776C6E2-E268-6EE4-0BEA-4E07F9799810}"/>
              </a:ext>
            </a:extLst>
          </p:cNvPr>
          <p:cNvSpPr/>
          <p:nvPr/>
        </p:nvSpPr>
        <p:spPr>
          <a:xfrm>
            <a:off x="7580013" y="4564535"/>
            <a:ext cx="827285" cy="2380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sight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5FC0CA0-E828-B4D9-4039-96DBE1CFC708}"/>
              </a:ext>
            </a:extLst>
          </p:cNvPr>
          <p:cNvSpPr/>
          <p:nvPr/>
        </p:nvSpPr>
        <p:spPr>
          <a:xfrm>
            <a:off x="7763523" y="3658788"/>
            <a:ext cx="1022425" cy="238036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0" rIns="4572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verti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0BB4E6-2925-A1C0-3117-643A3A633192}"/>
              </a:ext>
            </a:extLst>
          </p:cNvPr>
          <p:cNvSpPr txBox="1"/>
          <p:nvPr/>
        </p:nvSpPr>
        <p:spPr>
          <a:xfrm rot="17452309">
            <a:off x="1235054" y="1579357"/>
            <a:ext cx="9766596" cy="976659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Auto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45CBC2-6E2B-E4E7-3CFC-88D7C44C4B6D}"/>
              </a:ext>
            </a:extLst>
          </p:cNvPr>
          <p:cNvSpPr txBox="1"/>
          <p:nvPr/>
        </p:nvSpPr>
        <p:spPr>
          <a:xfrm rot="20111578">
            <a:off x="1140321" y="1679128"/>
            <a:ext cx="9766595" cy="9766595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Personal productiv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C75DE0E-27DD-0CE3-3FE9-7872FAA2CC2E}"/>
              </a:ext>
            </a:extLst>
          </p:cNvPr>
          <p:cNvSpPr txBox="1"/>
          <p:nvPr/>
        </p:nvSpPr>
        <p:spPr>
          <a:xfrm rot="4135016">
            <a:off x="1157839" y="1757335"/>
            <a:ext cx="9766596" cy="976659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Products &amp; servi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F01677-8C9F-D3E0-927F-105F6322153B}"/>
              </a:ext>
            </a:extLst>
          </p:cNvPr>
          <p:cNvSpPr txBox="1"/>
          <p:nvPr/>
        </p:nvSpPr>
        <p:spPr>
          <a:xfrm rot="1438430">
            <a:off x="1180909" y="1647105"/>
            <a:ext cx="9766594" cy="9766595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Segoe Sans Display Semibold" pitchFamily="2" charset="0"/>
              </a:rPr>
              <a:t>Customer engagement</a:t>
            </a:r>
          </a:p>
        </p:txBody>
      </p:sp>
    </p:spTree>
    <p:extLst>
      <p:ext uri="{BB962C8B-B14F-4D97-AF65-F5344CB8AC3E}">
        <p14:creationId xmlns:p14="http://schemas.microsoft.com/office/powerpoint/2010/main" val="29008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3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25" grpId="0" animBg="1"/>
      <p:bldP spid="26" grpId="0" animBg="1"/>
      <p:bldP spid="28" grpId="0" animBg="1"/>
      <p:bldP spid="3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710AA-48FA-3CF2-AD5B-06FD79B39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06400"/>
            <a:ext cx="11018520" cy="553998"/>
          </a:xfrm>
        </p:spPr>
        <p:txBody>
          <a:bodyPr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Let’s dive in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0D60089-5803-6260-E27F-F9CD82770716}"/>
              </a:ext>
            </a:extLst>
          </p:cNvPr>
          <p:cNvSpPr/>
          <p:nvPr/>
        </p:nvSpPr>
        <p:spPr>
          <a:xfrm>
            <a:off x="4770177" y="1218673"/>
            <a:ext cx="2651648" cy="3795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GenAI best practices</a:t>
            </a:r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EE40EEE5-DE85-50E8-6F93-E90644626DF4}"/>
              </a:ext>
            </a:extLst>
          </p:cNvPr>
          <p:cNvSpPr txBox="1">
            <a:spLocks/>
          </p:cNvSpPr>
          <p:nvPr/>
        </p:nvSpPr>
        <p:spPr>
          <a:xfrm>
            <a:off x="159594" y="2464618"/>
            <a:ext cx="1795840" cy="492443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How to select</a:t>
            </a:r>
          </a:p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optimal models</a:t>
            </a:r>
          </a:p>
        </p:txBody>
      </p:sp>
      <p:pic>
        <p:nvPicPr>
          <p:cNvPr id="11" name="Picture 10" descr="Innovate">
            <a:extLst>
              <a:ext uri="{FF2B5EF4-FFF2-40B4-BE49-F238E27FC236}">
                <a16:creationId xmlns:a16="http://schemas.microsoft.com/office/drawing/2014/main" id="{05BCE220-31F1-9DE6-065F-0000769C50C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1740" y="1748925"/>
            <a:ext cx="3492816" cy="1970093"/>
          </a:xfrm>
          <a:prstGeom prst="round2DiagRect">
            <a:avLst>
              <a:gd name="adj1" fmla="val 7771"/>
              <a:gd name="adj2" fmla="val 0"/>
            </a:avLst>
          </a:prstGeom>
          <a:ln>
            <a:noFill/>
          </a:ln>
          <a:effectLst>
            <a:outerShdw blurRad="254000" dist="127000" dir="2700000" algn="tl" rotWithShape="0">
              <a:srgbClr val="333333">
                <a:alpha val="25000"/>
              </a:srgbClr>
            </a:outerShdw>
          </a:effectLst>
        </p:spPr>
      </p:pic>
      <p:pic>
        <p:nvPicPr>
          <p:cNvPr id="19" name="Picture 18" descr="Safeguard">
            <a:extLst>
              <a:ext uri="{FF2B5EF4-FFF2-40B4-BE49-F238E27FC236}">
                <a16:creationId xmlns:a16="http://schemas.microsoft.com/office/drawing/2014/main" id="{8F59EF3B-30BE-0565-ABEF-1F7239A486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7446" y="1748558"/>
            <a:ext cx="3492814" cy="1963378"/>
          </a:xfrm>
          <a:prstGeom prst="round2DiagRect">
            <a:avLst>
              <a:gd name="adj1" fmla="val 0"/>
              <a:gd name="adj2" fmla="val 9315"/>
            </a:avLst>
          </a:prstGeom>
          <a:ln>
            <a:noFill/>
          </a:ln>
          <a:effectLst>
            <a:outerShdw blurRad="254000" dist="127000" dir="2700000" algn="tl" rotWithShape="0">
              <a:srgbClr val="333333">
                <a:alpha val="25000"/>
              </a:srgbClr>
            </a:outerShdw>
          </a:effectLst>
        </p:spPr>
      </p:pic>
      <p:sp>
        <p:nvSpPr>
          <p:cNvPr id="24" name="Title 4">
            <a:extLst>
              <a:ext uri="{FF2B5EF4-FFF2-40B4-BE49-F238E27FC236}">
                <a16:creationId xmlns:a16="http://schemas.microsoft.com/office/drawing/2014/main" id="{38720EE1-D970-A673-CF76-1711DAE57818}"/>
              </a:ext>
            </a:extLst>
          </p:cNvPr>
          <p:cNvSpPr txBox="1">
            <a:spLocks/>
          </p:cNvSpPr>
          <p:nvPr/>
        </p:nvSpPr>
        <p:spPr>
          <a:xfrm>
            <a:off x="10090577" y="2487750"/>
            <a:ext cx="1818085" cy="492443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How to navigate 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the new landscape</a:t>
            </a:r>
          </a:p>
        </p:txBody>
      </p:sp>
      <p:sp>
        <p:nvSpPr>
          <p:cNvPr id="31" name="Title 4">
            <a:extLst>
              <a:ext uri="{FF2B5EF4-FFF2-40B4-BE49-F238E27FC236}">
                <a16:creationId xmlns:a16="http://schemas.microsoft.com/office/drawing/2014/main" id="{B1DEB54A-A674-0663-0D61-E38286906152}"/>
              </a:ext>
            </a:extLst>
          </p:cNvPr>
          <p:cNvSpPr txBox="1">
            <a:spLocks/>
          </p:cNvSpPr>
          <p:nvPr/>
        </p:nvSpPr>
        <p:spPr>
          <a:xfrm>
            <a:off x="164437" y="4503108"/>
            <a:ext cx="1790997" cy="492443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How to deliver performance</a:t>
            </a:r>
          </a:p>
        </p:txBody>
      </p:sp>
      <p:pic>
        <p:nvPicPr>
          <p:cNvPr id="15" name="Picture 14" descr="Differentiate">
            <a:extLst>
              <a:ext uri="{FF2B5EF4-FFF2-40B4-BE49-F238E27FC236}">
                <a16:creationId xmlns:a16="http://schemas.microsoft.com/office/drawing/2014/main" id="{327598A6-F225-5124-B49D-7A7638C174D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4850" y="3902493"/>
            <a:ext cx="3492814" cy="1968135"/>
          </a:xfrm>
          <a:prstGeom prst="round2DiagRect">
            <a:avLst>
              <a:gd name="adj1" fmla="val 0"/>
              <a:gd name="adj2" fmla="val 11228"/>
            </a:avLst>
          </a:prstGeom>
          <a:ln>
            <a:noFill/>
          </a:ln>
          <a:effectLst>
            <a:outerShdw blurRad="254000" dist="127000" dir="2700000" algn="tl" rotWithShape="0">
              <a:srgbClr val="333333">
                <a:alpha val="25000"/>
              </a:srgbClr>
            </a:outerShdw>
          </a:effec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F1EFB77-AC28-997C-CF96-9EE32340977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7447" y="3900380"/>
            <a:ext cx="3492812" cy="1965136"/>
          </a:xfrm>
          <a:prstGeom prst="round2DiagRect">
            <a:avLst>
              <a:gd name="adj1" fmla="val 10470"/>
              <a:gd name="adj2" fmla="val 0"/>
            </a:avLst>
          </a:prstGeom>
          <a:ln>
            <a:noFill/>
          </a:ln>
          <a:effectLst>
            <a:outerShdw blurRad="254000" dist="127000" dir="2700000" algn="tl" rotWithShape="0">
              <a:srgbClr val="333333">
                <a:alpha val="25000"/>
              </a:srgbClr>
            </a:outerShdw>
          </a:effectLst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260864F5-E015-3769-A799-F1799CCDEAD7}"/>
              </a:ext>
            </a:extLst>
          </p:cNvPr>
          <p:cNvSpPr txBox="1">
            <a:spLocks/>
          </p:cNvSpPr>
          <p:nvPr/>
        </p:nvSpPr>
        <p:spPr>
          <a:xfrm>
            <a:off x="10090577" y="4636727"/>
            <a:ext cx="1818085" cy="492443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How to manage 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the full AI lifecycl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2D822CA-5FD4-D984-008B-92D61F797594}"/>
              </a:ext>
            </a:extLst>
          </p:cNvPr>
          <p:cNvSpPr/>
          <p:nvPr/>
        </p:nvSpPr>
        <p:spPr>
          <a:xfrm>
            <a:off x="3055533" y="3477781"/>
            <a:ext cx="6080935" cy="66362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Segoe UI Semibold"/>
              </a:rPr>
              <a:t>   Build uniquely      +       Build for scale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C1EC7A19-88D7-E67F-97B3-512A60D4F150}"/>
              </a:ext>
            </a:extLst>
          </p:cNvPr>
          <p:cNvSpPr/>
          <p:nvPr/>
        </p:nvSpPr>
        <p:spPr>
          <a:xfrm>
            <a:off x="4770121" y="6020993"/>
            <a:ext cx="2651760" cy="3795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</a:rPr>
              <a:t>The cloud for GenAI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D57C563-857C-A5B6-CECF-3018EAAB4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609370" y="1378178"/>
            <a:ext cx="2378794" cy="4862828"/>
          </a:xfrm>
          <a:custGeom>
            <a:avLst/>
            <a:gdLst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0 w 2651649"/>
              <a:gd name="connsiteY8" fmla="*/ 27285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91440 w 2651649"/>
              <a:gd name="connsiteY8" fmla="*/ 36429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0" fmla="*/ 272855 w 2651649"/>
              <a:gd name="connsiteY0" fmla="*/ 0 h 4862828"/>
              <a:gd name="connsiteX1" fmla="*/ 2378794 w 2651649"/>
              <a:gd name="connsiteY1" fmla="*/ 0 h 4862828"/>
              <a:gd name="connsiteX2" fmla="*/ 2651649 w 2651649"/>
              <a:gd name="connsiteY2" fmla="*/ 272855 h 4862828"/>
              <a:gd name="connsiteX3" fmla="*/ 2651649 w 2651649"/>
              <a:gd name="connsiteY3" fmla="*/ 4589973 h 4862828"/>
              <a:gd name="connsiteX4" fmla="*/ 2378794 w 2651649"/>
              <a:gd name="connsiteY4" fmla="*/ 4862828 h 4862828"/>
              <a:gd name="connsiteX5" fmla="*/ 272855 w 2651649"/>
              <a:gd name="connsiteY5" fmla="*/ 4862828 h 4862828"/>
              <a:gd name="connsiteX6" fmla="*/ 0 w 2651649"/>
              <a:gd name="connsiteY6" fmla="*/ 4589973 h 4862828"/>
              <a:gd name="connsiteX0" fmla="*/ 0 w 2378794"/>
              <a:gd name="connsiteY0" fmla="*/ 0 h 4862828"/>
              <a:gd name="connsiteX1" fmla="*/ 2105939 w 2378794"/>
              <a:gd name="connsiteY1" fmla="*/ 0 h 4862828"/>
              <a:gd name="connsiteX2" fmla="*/ 2378794 w 2378794"/>
              <a:gd name="connsiteY2" fmla="*/ 272855 h 4862828"/>
              <a:gd name="connsiteX3" fmla="*/ 2378794 w 2378794"/>
              <a:gd name="connsiteY3" fmla="*/ 4589973 h 4862828"/>
              <a:gd name="connsiteX4" fmla="*/ 2105939 w 2378794"/>
              <a:gd name="connsiteY4" fmla="*/ 4862828 h 4862828"/>
              <a:gd name="connsiteX5" fmla="*/ 0 w 2378794"/>
              <a:gd name="connsiteY5" fmla="*/ 4862828 h 4862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8794" h="4862828">
                <a:moveTo>
                  <a:pt x="0" y="0"/>
                </a:moveTo>
                <a:lnTo>
                  <a:pt x="2105939" y="0"/>
                </a:lnTo>
                <a:cubicBezTo>
                  <a:pt x="2256633" y="0"/>
                  <a:pt x="2378794" y="122161"/>
                  <a:pt x="2378794" y="272855"/>
                </a:cubicBezTo>
                <a:lnTo>
                  <a:pt x="2378794" y="4589973"/>
                </a:lnTo>
                <a:cubicBezTo>
                  <a:pt x="2378794" y="4740667"/>
                  <a:pt x="2256633" y="4862828"/>
                  <a:pt x="2105939" y="4862828"/>
                </a:cubicBezTo>
                <a:lnTo>
                  <a:pt x="0" y="4862828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: Rounded Corners 7">
            <a:extLst>
              <a:ext uri="{FF2B5EF4-FFF2-40B4-BE49-F238E27FC236}">
                <a16:creationId xmlns:a16="http://schemas.microsoft.com/office/drawing/2014/main" id="{E3DE4AEF-C696-0DE7-BD7E-F34539356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2206676" y="1378178"/>
            <a:ext cx="2378794" cy="4862828"/>
          </a:xfrm>
          <a:custGeom>
            <a:avLst/>
            <a:gdLst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0 w 2651649"/>
              <a:gd name="connsiteY8" fmla="*/ 27285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91440 w 2651649"/>
              <a:gd name="connsiteY8" fmla="*/ 36429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0" fmla="*/ 272855 w 2651649"/>
              <a:gd name="connsiteY0" fmla="*/ 0 h 4862828"/>
              <a:gd name="connsiteX1" fmla="*/ 2378794 w 2651649"/>
              <a:gd name="connsiteY1" fmla="*/ 0 h 4862828"/>
              <a:gd name="connsiteX2" fmla="*/ 2651649 w 2651649"/>
              <a:gd name="connsiteY2" fmla="*/ 272855 h 4862828"/>
              <a:gd name="connsiteX3" fmla="*/ 2651649 w 2651649"/>
              <a:gd name="connsiteY3" fmla="*/ 4589973 h 4862828"/>
              <a:gd name="connsiteX4" fmla="*/ 2378794 w 2651649"/>
              <a:gd name="connsiteY4" fmla="*/ 4862828 h 4862828"/>
              <a:gd name="connsiteX5" fmla="*/ 272855 w 2651649"/>
              <a:gd name="connsiteY5" fmla="*/ 4862828 h 4862828"/>
              <a:gd name="connsiteX6" fmla="*/ 0 w 2651649"/>
              <a:gd name="connsiteY6" fmla="*/ 4589973 h 4862828"/>
              <a:gd name="connsiteX0" fmla="*/ 0 w 2378794"/>
              <a:gd name="connsiteY0" fmla="*/ 0 h 4862828"/>
              <a:gd name="connsiteX1" fmla="*/ 2105939 w 2378794"/>
              <a:gd name="connsiteY1" fmla="*/ 0 h 4862828"/>
              <a:gd name="connsiteX2" fmla="*/ 2378794 w 2378794"/>
              <a:gd name="connsiteY2" fmla="*/ 272855 h 4862828"/>
              <a:gd name="connsiteX3" fmla="*/ 2378794 w 2378794"/>
              <a:gd name="connsiteY3" fmla="*/ 4589973 h 4862828"/>
              <a:gd name="connsiteX4" fmla="*/ 2105939 w 2378794"/>
              <a:gd name="connsiteY4" fmla="*/ 4862828 h 4862828"/>
              <a:gd name="connsiteX5" fmla="*/ 0 w 2378794"/>
              <a:gd name="connsiteY5" fmla="*/ 4862828 h 4862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8794" h="4862828">
                <a:moveTo>
                  <a:pt x="0" y="0"/>
                </a:moveTo>
                <a:lnTo>
                  <a:pt x="2105939" y="0"/>
                </a:lnTo>
                <a:cubicBezTo>
                  <a:pt x="2256633" y="0"/>
                  <a:pt x="2378794" y="122161"/>
                  <a:pt x="2378794" y="272855"/>
                </a:cubicBezTo>
                <a:lnTo>
                  <a:pt x="2378794" y="4589973"/>
                </a:lnTo>
                <a:cubicBezTo>
                  <a:pt x="2378794" y="4740667"/>
                  <a:pt x="2256633" y="4862828"/>
                  <a:pt x="2105939" y="4862828"/>
                </a:cubicBezTo>
                <a:lnTo>
                  <a:pt x="0" y="4862828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F40A1FF-316B-FB69-81C1-09D0AFCBEB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01423" y="4777571"/>
            <a:ext cx="217980" cy="217980"/>
          </a:xfrm>
          <a:prstGeom prst="ellipse">
            <a:avLst/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8100000" scaled="1"/>
          </a:gradFill>
          <a:ln>
            <a:noFill/>
          </a:ln>
          <a:effectLst>
            <a:outerShdw blurRad="50800" dist="38100" dir="36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4A1BF07-B3BE-0ECA-224E-A4779949B6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01423" y="2624981"/>
            <a:ext cx="217980" cy="217980"/>
          </a:xfrm>
          <a:prstGeom prst="ellipse">
            <a:avLst/>
          </a:prstGeom>
          <a:gradFill>
            <a:gsLst>
              <a:gs pos="100000">
                <a:srgbClr val="F33776"/>
              </a:gs>
              <a:gs pos="0">
                <a:srgbClr val="B641B3"/>
              </a:gs>
            </a:gsLst>
            <a:lin ang="8100000" scaled="1"/>
          </a:gradFill>
          <a:ln>
            <a:noFill/>
          </a:ln>
          <a:effectLst>
            <a:outerShdw blurRad="50800" dist="38100" dir="36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0AB54ED-0C2A-5D43-9E86-2EC45393F5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872597" y="4777571"/>
            <a:ext cx="217980" cy="217980"/>
          </a:xfrm>
          <a:prstGeom prst="ellipse">
            <a:avLst/>
          </a:prstGeom>
          <a:gradFill>
            <a:gsLst>
              <a:gs pos="56000">
                <a:schemeClr val="accent6"/>
              </a:gs>
              <a:gs pos="100000">
                <a:srgbClr val="F33776"/>
              </a:gs>
            </a:gsLst>
            <a:lin ang="8100000" scaled="1"/>
          </a:gradFill>
          <a:ln>
            <a:noFill/>
          </a:ln>
          <a:effectLst>
            <a:outerShdw blurRad="50800" dist="38100" dir="36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7F9C47A-E2A3-371D-3869-6671B06507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872597" y="2624981"/>
            <a:ext cx="217980" cy="217980"/>
          </a:xfrm>
          <a:prstGeom prst="ellipse">
            <a:avLst/>
          </a:prstGeom>
          <a:gradFill>
            <a:gsLst>
              <a:gs pos="30000">
                <a:schemeClr val="accent1"/>
              </a:gs>
              <a:gs pos="100000">
                <a:schemeClr val="accent4"/>
              </a:gs>
            </a:gsLst>
            <a:lin ang="8100000" scaled="1"/>
          </a:gradFill>
          <a:ln>
            <a:noFill/>
          </a:ln>
          <a:effectLst>
            <a:outerShdw blurRad="50800" dist="38100" dir="36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664683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36F45D66-C34F-B278-603A-42DE34E853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7071" y="1403330"/>
            <a:ext cx="11022317" cy="4865708"/>
          </a:xfrm>
          <a:prstGeom prst="roundRect">
            <a:avLst>
              <a:gd name="adj" fmla="val 5236"/>
            </a:avLst>
          </a:prstGeom>
          <a:ln w="19050" cap="rnd"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ounded Rectangle 64">
            <a:extLst>
              <a:ext uri="{FF2B5EF4-FFF2-40B4-BE49-F238E27FC236}">
                <a16:creationId xmlns:a16="http://schemas.microsoft.com/office/drawing/2014/main" id="{1131526E-8EFC-B656-CF3C-C603A25B26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62001" y="2103000"/>
            <a:ext cx="10672458" cy="3995630"/>
          </a:xfrm>
          <a:prstGeom prst="roundRect">
            <a:avLst>
              <a:gd name="adj" fmla="val 3991"/>
            </a:avLst>
          </a:prstGeom>
          <a:solidFill>
            <a:schemeClr val="bg1"/>
          </a:solidFill>
          <a:ln w="12700" cap="rnd">
            <a:solidFill>
              <a:srgbClr val="65707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623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1469" rtl="0" eaLnBrk="1" fontAlgn="auto" latinLnBrk="0" hangingPunct="1">
              <a:lnSpc>
                <a:spcPct val="100000"/>
              </a:lnSpc>
              <a:spcBef>
                <a:spcPts val="1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41958">
                    <a:srgbClr val="FFFFFF"/>
                  </a:gs>
                  <a:gs pos="63000">
                    <a:srgbClr val="FFFFFF"/>
                  </a:gs>
                </a:gsLst>
                <a:lin ang="0" scaled="0"/>
              </a:gradFill>
              <a:effectLst/>
              <a:uLnTx/>
              <a:uFillTx/>
              <a:latin typeface="Segoe UI Variable Display Semib" pitchFamily="2" charset="0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3409F2-0289-D50D-0939-589FE960E2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68350" y="4712082"/>
            <a:ext cx="10655300" cy="0"/>
          </a:xfrm>
          <a:prstGeom prst="line">
            <a:avLst/>
          </a:prstGeom>
          <a:ln w="12700" cap="rnd">
            <a:solidFill>
              <a:srgbClr val="657076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86D3B6D-8D13-549F-75FD-750DBB04C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286703" y="2102998"/>
            <a:ext cx="3636996" cy="2609084"/>
            <a:chOff x="4284797" y="1550838"/>
            <a:chExt cx="3637944" cy="311757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D64C07F-F704-4C17-F1C9-63579CF3B359}"/>
                </a:ext>
              </a:extLst>
            </p:cNvPr>
            <p:cNvCxnSpPr>
              <a:cxnSpLocks/>
            </p:cNvCxnSpPr>
            <p:nvPr/>
          </p:nvCxnSpPr>
          <p:spPr>
            <a:xfrm>
              <a:off x="4284797" y="1563538"/>
              <a:ext cx="0" cy="3104873"/>
            </a:xfrm>
            <a:prstGeom prst="line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3E190A9-9E6A-FCE9-2DD7-7E07F0637619}"/>
                </a:ext>
              </a:extLst>
            </p:cNvPr>
            <p:cNvCxnSpPr>
              <a:cxnSpLocks/>
            </p:cNvCxnSpPr>
            <p:nvPr/>
          </p:nvCxnSpPr>
          <p:spPr>
            <a:xfrm>
              <a:off x="7922741" y="1550838"/>
              <a:ext cx="0" cy="3117573"/>
            </a:xfrm>
            <a:prstGeom prst="line">
              <a:avLst/>
            </a:prstGeom>
            <a:noFill/>
            <a:ln w="12700" cap="rnd">
              <a:solidFill>
                <a:srgbClr val="65707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sp>
        <p:nvSpPr>
          <p:cNvPr id="26" name="Title 6">
            <a:extLst>
              <a:ext uri="{FF2B5EF4-FFF2-40B4-BE49-F238E27FC236}">
                <a16:creationId xmlns:a16="http://schemas.microsoft.com/office/drawing/2014/main" id="{0CB103D2-EB1B-AFAD-1193-42F31243FE0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491019" fontAlgn="base">
              <a:spcBef>
                <a:spcPct val="0"/>
              </a:spcBef>
              <a:spcAft>
                <a:spcPct val="0"/>
              </a:spcAft>
              <a:defRPr sz="4800">
                <a:gradFill>
                  <a:gsLst>
                    <a:gs pos="1399">
                      <a:srgbClr val="FFFFFF"/>
                    </a:gs>
                    <a:gs pos="12587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Variable Display Semib" pitchFamily="2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908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399">
                      <a:srgbClr val="FFFFFF"/>
                    </a:gs>
                    <a:gs pos="12587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cs typeface="Segoe UI"/>
              </a:rPr>
              <a:t>Azure AI</a:t>
            </a:r>
            <a:endParaRPr lang="en-US" sz="36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 Semibold"/>
              <a:cs typeface="Segoe U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B32BC71-B47E-CC4C-1B91-9BDC92306232}"/>
              </a:ext>
            </a:extLst>
          </p:cNvPr>
          <p:cNvSpPr txBox="1"/>
          <p:nvPr/>
        </p:nvSpPr>
        <p:spPr>
          <a:xfrm>
            <a:off x="2693207" y="1509662"/>
            <a:ext cx="6810044" cy="4615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 defTabSz="1371600">
              <a:buSzPct val="90000"/>
              <a:tabLst>
                <a:tab pos="1371600" algn="l"/>
              </a:tabLst>
              <a:defRPr sz="2400" b="1">
                <a:ln w="3175">
                  <a:noFill/>
                </a:ln>
                <a:gradFill>
                  <a:gsLst>
                    <a:gs pos="0">
                      <a:srgbClr val="D59ED7"/>
                    </a:gs>
                    <a:gs pos="80000">
                      <a:srgbClr val="8DC8E8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F050202020403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>
                <a:tab pos="1371600" algn="l"/>
              </a:tabLst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D59ED7"/>
                    </a:gs>
                    <a:gs pos="80000">
                      <a:srgbClr val="8DC8E8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est-in-class AI foundation model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F90460-4F69-D4C4-EC1D-016650A3D5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654002" y="2434719"/>
            <a:ext cx="1745521" cy="755733"/>
            <a:chOff x="1595445" y="2348742"/>
            <a:chExt cx="1745521" cy="755733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5F0502B-170F-32E4-1BC8-8B6B9F648B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25411" y="2348742"/>
              <a:ext cx="315555" cy="315555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5A9326A-50CA-68BB-6DEC-CFF2F7C45B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43402" y="2348742"/>
              <a:ext cx="315555" cy="315555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78CB9DF0-ABC5-D53A-659C-A776155171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61393" y="2348742"/>
              <a:ext cx="315555" cy="31555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DF0F6465-5645-4F15-45D6-1691EAFE95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95445" y="2348742"/>
              <a:ext cx="315555" cy="315555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8932DAFF-9DAA-FCAB-E746-ED3910C83A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1393" y="2788920"/>
              <a:ext cx="315555" cy="315555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C1296D94-91D8-ACED-3660-2D4A1D9350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43402" y="2788920"/>
              <a:ext cx="315555" cy="315555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9F3CEC7E-A6F5-E7DA-BF05-047333849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25411" y="2788920"/>
              <a:ext cx="315555" cy="315555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A395CA01-8CC5-4378-95C0-5DA0B72FA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627568" y="2821043"/>
              <a:ext cx="251309" cy="251309"/>
            </a:xfrm>
            <a:prstGeom prst="rect">
              <a:avLst/>
            </a:prstGeom>
          </p:spPr>
        </p:pic>
      </p:grp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56C2C31-8726-5855-E2A8-236F663B81E6}"/>
              </a:ext>
            </a:extLst>
          </p:cNvPr>
          <p:cNvSpPr txBox="1">
            <a:spLocks/>
          </p:cNvSpPr>
          <p:nvPr/>
        </p:nvSpPr>
        <p:spPr>
          <a:xfrm>
            <a:off x="924192" y="3433387"/>
            <a:ext cx="3205141" cy="848921"/>
          </a:xfrm>
          <a:prstGeom prst="rect">
            <a:avLst/>
          </a:prstGeom>
        </p:spPr>
        <p:txBody>
          <a:bodyPr lIns="91416" tIns="45708" rIns="91416" bIns="45708" anchor="t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cap="all" spc="100" baseline="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5pPr>
            <a:lvl6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6pPr>
            <a:lvl7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zure AI Services</a:t>
            </a:r>
          </a:p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Pre-trained, turnkey solutions for intelligent application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FA97A109-A020-ECB5-6A32-B7E7E5639B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7483" y="2431839"/>
            <a:ext cx="761493" cy="761493"/>
          </a:xfrm>
          <a:prstGeom prst="rect">
            <a:avLst/>
          </a:prstGeom>
        </p:spPr>
      </p:pic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40297B-D060-5282-E010-3BA1A3CEB266}"/>
              </a:ext>
            </a:extLst>
          </p:cNvPr>
          <p:cNvSpPr txBox="1">
            <a:spLocks/>
          </p:cNvSpPr>
          <p:nvPr/>
        </p:nvSpPr>
        <p:spPr>
          <a:xfrm>
            <a:off x="4391997" y="3433387"/>
            <a:ext cx="3412465" cy="848921"/>
          </a:xfrm>
          <a:prstGeom prst="rect">
            <a:avLst/>
          </a:prstGeom>
        </p:spPr>
        <p:txBody>
          <a:bodyPr lIns="91416" tIns="45708" rIns="91416" bIns="45708" anchor="t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cap="all" spc="100" baseline="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5pPr>
            <a:lvl6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6pPr>
            <a:lvl7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zure Machine Learning</a:t>
            </a:r>
          </a:p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Full-lifecycle tools for designing and managing AI model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5DE31DA-3307-DE97-E354-E5BB598934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346399" y="2491646"/>
            <a:ext cx="611312" cy="641878"/>
            <a:chOff x="10349387" y="2495813"/>
            <a:chExt cx="611312" cy="64187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04071BA-C4E6-402D-B305-0EA93202B0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349387" y="2495813"/>
              <a:ext cx="611312" cy="641878"/>
            </a:xfrm>
            <a:custGeom>
              <a:avLst/>
              <a:gdLst>
                <a:gd name="connsiteX0" fmla="*/ 534879 w 611312"/>
                <a:gd name="connsiteY0" fmla="*/ 397325 h 641878"/>
                <a:gd name="connsiteX1" fmla="*/ 524078 w 611312"/>
                <a:gd name="connsiteY1" fmla="*/ 401815 h 641878"/>
                <a:gd name="connsiteX2" fmla="*/ 412636 w 611312"/>
                <a:gd name="connsiteY2" fmla="*/ 513287 h 641878"/>
                <a:gd name="connsiteX3" fmla="*/ 362325 w 611312"/>
                <a:gd name="connsiteY3" fmla="*/ 462945 h 641878"/>
                <a:gd name="connsiteX4" fmla="*/ 340685 w 611312"/>
                <a:gd name="connsiteY4" fmla="*/ 462945 h 641878"/>
                <a:gd name="connsiteX5" fmla="*/ 340685 w 611312"/>
                <a:gd name="connsiteY5" fmla="*/ 484587 h 641878"/>
                <a:gd name="connsiteX6" fmla="*/ 401816 w 611312"/>
                <a:gd name="connsiteY6" fmla="*/ 545718 h 641878"/>
                <a:gd name="connsiteX7" fmla="*/ 401844 w 611312"/>
                <a:gd name="connsiteY7" fmla="*/ 545745 h 641878"/>
                <a:gd name="connsiteX8" fmla="*/ 423456 w 611312"/>
                <a:gd name="connsiteY8" fmla="*/ 545718 h 641878"/>
                <a:gd name="connsiteX9" fmla="*/ 545718 w 611312"/>
                <a:gd name="connsiteY9" fmla="*/ 423455 h 641878"/>
                <a:gd name="connsiteX10" fmla="*/ 545745 w 611312"/>
                <a:gd name="connsiteY10" fmla="*/ 423428 h 641878"/>
                <a:gd name="connsiteX11" fmla="*/ 545718 w 611312"/>
                <a:gd name="connsiteY11" fmla="*/ 401815 h 641878"/>
                <a:gd name="connsiteX12" fmla="*/ 545690 w 611312"/>
                <a:gd name="connsiteY12" fmla="*/ 401786 h 641878"/>
                <a:gd name="connsiteX13" fmla="*/ 534879 w 611312"/>
                <a:gd name="connsiteY13" fmla="*/ 397325 h 641878"/>
                <a:gd name="connsiteX14" fmla="*/ 443202 w 611312"/>
                <a:gd name="connsiteY14" fmla="*/ 305655 h 641878"/>
                <a:gd name="connsiteX15" fmla="*/ 611312 w 611312"/>
                <a:gd name="connsiteY15" fmla="*/ 473765 h 641878"/>
                <a:gd name="connsiteX16" fmla="*/ 443202 w 611312"/>
                <a:gd name="connsiteY16" fmla="*/ 641878 h 641878"/>
                <a:gd name="connsiteX17" fmla="*/ 275090 w 611312"/>
                <a:gd name="connsiteY17" fmla="*/ 473765 h 641878"/>
                <a:gd name="connsiteX18" fmla="*/ 443202 w 611312"/>
                <a:gd name="connsiteY18" fmla="*/ 305655 h 641878"/>
                <a:gd name="connsiteX19" fmla="*/ 275091 w 611312"/>
                <a:gd name="connsiteY19" fmla="*/ 0 h 641878"/>
                <a:gd name="connsiteX20" fmla="*/ 288845 w 611312"/>
                <a:gd name="connsiteY20" fmla="*/ 4584 h 641878"/>
                <a:gd name="connsiteX21" fmla="*/ 527257 w 611312"/>
                <a:gd name="connsiteY21" fmla="*/ 91696 h 641878"/>
                <a:gd name="connsiteX22" fmla="*/ 550181 w 611312"/>
                <a:gd name="connsiteY22" fmla="*/ 114620 h 641878"/>
                <a:gd name="connsiteX23" fmla="*/ 550181 w 611312"/>
                <a:gd name="connsiteY23" fmla="*/ 275090 h 641878"/>
                <a:gd name="connsiteX24" fmla="*/ 548958 w 611312"/>
                <a:gd name="connsiteY24" fmla="*/ 305534 h 641878"/>
                <a:gd name="connsiteX25" fmla="*/ 274980 w 611312"/>
                <a:gd name="connsiteY25" fmla="*/ 367825 h 641878"/>
                <a:gd name="connsiteX26" fmla="*/ 294347 w 611312"/>
                <a:gd name="connsiteY26" fmla="*/ 605352 h 641878"/>
                <a:gd name="connsiteX27" fmla="*/ 283496 w 611312"/>
                <a:gd name="connsiteY27" fmla="*/ 609723 h 641878"/>
                <a:gd name="connsiteX28" fmla="*/ 266685 w 611312"/>
                <a:gd name="connsiteY28" fmla="*/ 609723 h 641878"/>
                <a:gd name="connsiteX29" fmla="*/ 0 w 611312"/>
                <a:gd name="connsiteY29" fmla="*/ 275090 h 641878"/>
                <a:gd name="connsiteX30" fmla="*/ 0 w 611312"/>
                <a:gd name="connsiteY30" fmla="*/ 114620 h 641878"/>
                <a:gd name="connsiteX31" fmla="*/ 22924 w 611312"/>
                <a:gd name="connsiteY31" fmla="*/ 91696 h 641878"/>
                <a:gd name="connsiteX32" fmla="*/ 261336 w 611312"/>
                <a:gd name="connsiteY32" fmla="*/ 4584 h 641878"/>
                <a:gd name="connsiteX33" fmla="*/ 275091 w 611312"/>
                <a:gd name="connsiteY33" fmla="*/ 0 h 64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11312" h="641878">
                  <a:moveTo>
                    <a:pt x="534879" y="397325"/>
                  </a:moveTo>
                  <a:cubicBezTo>
                    <a:pt x="530968" y="397330"/>
                    <a:pt x="527057" y="398828"/>
                    <a:pt x="524078" y="401815"/>
                  </a:cubicBezTo>
                  <a:lnTo>
                    <a:pt x="412636" y="513287"/>
                  </a:lnTo>
                  <a:lnTo>
                    <a:pt x="362325" y="462945"/>
                  </a:lnTo>
                  <a:cubicBezTo>
                    <a:pt x="356350" y="456971"/>
                    <a:pt x="346661" y="456971"/>
                    <a:pt x="340685" y="462945"/>
                  </a:cubicBezTo>
                  <a:cubicBezTo>
                    <a:pt x="334709" y="468921"/>
                    <a:pt x="334709" y="478611"/>
                    <a:pt x="340685" y="484587"/>
                  </a:cubicBezTo>
                  <a:lnTo>
                    <a:pt x="401816" y="545718"/>
                  </a:lnTo>
                  <a:cubicBezTo>
                    <a:pt x="401824" y="545726"/>
                    <a:pt x="401833" y="545736"/>
                    <a:pt x="401844" y="545745"/>
                  </a:cubicBezTo>
                  <a:cubicBezTo>
                    <a:pt x="407817" y="551705"/>
                    <a:pt x="417496" y="551694"/>
                    <a:pt x="423456" y="545718"/>
                  </a:cubicBezTo>
                  <a:lnTo>
                    <a:pt x="545718" y="423455"/>
                  </a:lnTo>
                  <a:cubicBezTo>
                    <a:pt x="545728" y="423446"/>
                    <a:pt x="545736" y="423437"/>
                    <a:pt x="545745" y="423428"/>
                  </a:cubicBezTo>
                  <a:cubicBezTo>
                    <a:pt x="551707" y="417452"/>
                    <a:pt x="551694" y="407775"/>
                    <a:pt x="545718" y="401815"/>
                  </a:cubicBezTo>
                  <a:cubicBezTo>
                    <a:pt x="545710" y="401806"/>
                    <a:pt x="545701" y="401796"/>
                    <a:pt x="545690" y="401786"/>
                  </a:cubicBezTo>
                  <a:cubicBezTo>
                    <a:pt x="542704" y="398807"/>
                    <a:pt x="538790" y="397320"/>
                    <a:pt x="534879" y="397325"/>
                  </a:cubicBezTo>
                  <a:close/>
                  <a:moveTo>
                    <a:pt x="443202" y="305655"/>
                  </a:moveTo>
                  <a:cubicBezTo>
                    <a:pt x="536048" y="305655"/>
                    <a:pt x="611312" y="380920"/>
                    <a:pt x="611312" y="473765"/>
                  </a:cubicBezTo>
                  <a:cubicBezTo>
                    <a:pt x="611312" y="566613"/>
                    <a:pt x="536048" y="641878"/>
                    <a:pt x="443202" y="641878"/>
                  </a:cubicBezTo>
                  <a:cubicBezTo>
                    <a:pt x="350356" y="641878"/>
                    <a:pt x="275090" y="566613"/>
                    <a:pt x="275090" y="473765"/>
                  </a:cubicBezTo>
                  <a:cubicBezTo>
                    <a:pt x="275090" y="380920"/>
                    <a:pt x="350356" y="305655"/>
                    <a:pt x="443202" y="305655"/>
                  </a:cubicBezTo>
                  <a:close/>
                  <a:moveTo>
                    <a:pt x="275091" y="0"/>
                  </a:moveTo>
                  <a:cubicBezTo>
                    <a:pt x="279930" y="0"/>
                    <a:pt x="284769" y="1528"/>
                    <a:pt x="288845" y="4584"/>
                  </a:cubicBezTo>
                  <a:cubicBezTo>
                    <a:pt x="366543" y="62872"/>
                    <a:pt x="445861" y="91696"/>
                    <a:pt x="527257" y="91696"/>
                  </a:cubicBezTo>
                  <a:cubicBezTo>
                    <a:pt x="539917" y="91696"/>
                    <a:pt x="550181" y="101959"/>
                    <a:pt x="550181" y="114620"/>
                  </a:cubicBezTo>
                  <a:lnTo>
                    <a:pt x="550181" y="275090"/>
                  </a:lnTo>
                  <a:cubicBezTo>
                    <a:pt x="550181" y="285420"/>
                    <a:pt x="549753" y="295569"/>
                    <a:pt x="548958" y="305534"/>
                  </a:cubicBezTo>
                  <a:cubicBezTo>
                    <a:pt x="456100" y="247077"/>
                    <a:pt x="333434" y="274967"/>
                    <a:pt x="274980" y="367825"/>
                  </a:cubicBezTo>
                  <a:cubicBezTo>
                    <a:pt x="227961" y="442514"/>
                    <a:pt x="235850" y="539266"/>
                    <a:pt x="294347" y="605352"/>
                  </a:cubicBezTo>
                  <a:lnTo>
                    <a:pt x="283496" y="609723"/>
                  </a:lnTo>
                  <a:cubicBezTo>
                    <a:pt x="278095" y="611850"/>
                    <a:pt x="272086" y="611850"/>
                    <a:pt x="266685" y="609723"/>
                  </a:cubicBezTo>
                  <a:cubicBezTo>
                    <a:pt x="90412" y="540277"/>
                    <a:pt x="0" y="427918"/>
                    <a:pt x="0" y="275090"/>
                  </a:cubicBezTo>
                  <a:lnTo>
                    <a:pt x="0" y="114620"/>
                  </a:lnTo>
                  <a:cubicBezTo>
                    <a:pt x="0" y="101959"/>
                    <a:pt x="10263" y="91696"/>
                    <a:pt x="22924" y="91696"/>
                  </a:cubicBezTo>
                  <a:cubicBezTo>
                    <a:pt x="104320" y="91696"/>
                    <a:pt x="183638" y="62872"/>
                    <a:pt x="261336" y="4584"/>
                  </a:cubicBezTo>
                  <a:cubicBezTo>
                    <a:pt x="265411" y="1528"/>
                    <a:pt x="270251" y="0"/>
                    <a:pt x="27509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3BC4"/>
                </a:gs>
                <a:gs pos="100000">
                  <a:srgbClr val="8DC8E8"/>
                </a:gs>
                <a:gs pos="53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ln w="63897" cap="flat">
              <a:noFill/>
              <a:prstDash val="solid"/>
              <a:miter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2A2D088-856B-1798-F87A-7E8A36B715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349387" y="2495813"/>
              <a:ext cx="611312" cy="641878"/>
            </a:xfrm>
            <a:custGeom>
              <a:avLst/>
              <a:gdLst>
                <a:gd name="connsiteX0" fmla="*/ 534879 w 611312"/>
                <a:gd name="connsiteY0" fmla="*/ 397325 h 641878"/>
                <a:gd name="connsiteX1" fmla="*/ 524078 w 611312"/>
                <a:gd name="connsiteY1" fmla="*/ 401815 h 641878"/>
                <a:gd name="connsiteX2" fmla="*/ 412636 w 611312"/>
                <a:gd name="connsiteY2" fmla="*/ 513287 h 641878"/>
                <a:gd name="connsiteX3" fmla="*/ 362325 w 611312"/>
                <a:gd name="connsiteY3" fmla="*/ 462945 h 641878"/>
                <a:gd name="connsiteX4" fmla="*/ 340685 w 611312"/>
                <a:gd name="connsiteY4" fmla="*/ 462945 h 641878"/>
                <a:gd name="connsiteX5" fmla="*/ 340685 w 611312"/>
                <a:gd name="connsiteY5" fmla="*/ 484587 h 641878"/>
                <a:gd name="connsiteX6" fmla="*/ 401816 w 611312"/>
                <a:gd name="connsiteY6" fmla="*/ 545718 h 641878"/>
                <a:gd name="connsiteX7" fmla="*/ 401844 w 611312"/>
                <a:gd name="connsiteY7" fmla="*/ 545745 h 641878"/>
                <a:gd name="connsiteX8" fmla="*/ 423456 w 611312"/>
                <a:gd name="connsiteY8" fmla="*/ 545718 h 641878"/>
                <a:gd name="connsiteX9" fmla="*/ 545718 w 611312"/>
                <a:gd name="connsiteY9" fmla="*/ 423455 h 641878"/>
                <a:gd name="connsiteX10" fmla="*/ 545745 w 611312"/>
                <a:gd name="connsiteY10" fmla="*/ 423428 h 641878"/>
                <a:gd name="connsiteX11" fmla="*/ 545718 w 611312"/>
                <a:gd name="connsiteY11" fmla="*/ 401815 h 641878"/>
                <a:gd name="connsiteX12" fmla="*/ 545690 w 611312"/>
                <a:gd name="connsiteY12" fmla="*/ 401786 h 641878"/>
                <a:gd name="connsiteX13" fmla="*/ 534879 w 611312"/>
                <a:gd name="connsiteY13" fmla="*/ 397325 h 641878"/>
                <a:gd name="connsiteX14" fmla="*/ 443202 w 611312"/>
                <a:gd name="connsiteY14" fmla="*/ 305655 h 641878"/>
                <a:gd name="connsiteX15" fmla="*/ 611312 w 611312"/>
                <a:gd name="connsiteY15" fmla="*/ 473765 h 641878"/>
                <a:gd name="connsiteX16" fmla="*/ 443202 w 611312"/>
                <a:gd name="connsiteY16" fmla="*/ 641878 h 641878"/>
                <a:gd name="connsiteX17" fmla="*/ 275090 w 611312"/>
                <a:gd name="connsiteY17" fmla="*/ 473765 h 641878"/>
                <a:gd name="connsiteX18" fmla="*/ 443202 w 611312"/>
                <a:gd name="connsiteY18" fmla="*/ 305655 h 641878"/>
                <a:gd name="connsiteX19" fmla="*/ 275091 w 611312"/>
                <a:gd name="connsiteY19" fmla="*/ 0 h 641878"/>
                <a:gd name="connsiteX20" fmla="*/ 288845 w 611312"/>
                <a:gd name="connsiteY20" fmla="*/ 4584 h 641878"/>
                <a:gd name="connsiteX21" fmla="*/ 527257 w 611312"/>
                <a:gd name="connsiteY21" fmla="*/ 91696 h 641878"/>
                <a:gd name="connsiteX22" fmla="*/ 550181 w 611312"/>
                <a:gd name="connsiteY22" fmla="*/ 114620 h 641878"/>
                <a:gd name="connsiteX23" fmla="*/ 550181 w 611312"/>
                <a:gd name="connsiteY23" fmla="*/ 275090 h 641878"/>
                <a:gd name="connsiteX24" fmla="*/ 548958 w 611312"/>
                <a:gd name="connsiteY24" fmla="*/ 305534 h 641878"/>
                <a:gd name="connsiteX25" fmla="*/ 274980 w 611312"/>
                <a:gd name="connsiteY25" fmla="*/ 367825 h 641878"/>
                <a:gd name="connsiteX26" fmla="*/ 294347 w 611312"/>
                <a:gd name="connsiteY26" fmla="*/ 605352 h 641878"/>
                <a:gd name="connsiteX27" fmla="*/ 283496 w 611312"/>
                <a:gd name="connsiteY27" fmla="*/ 609723 h 641878"/>
                <a:gd name="connsiteX28" fmla="*/ 266685 w 611312"/>
                <a:gd name="connsiteY28" fmla="*/ 609723 h 641878"/>
                <a:gd name="connsiteX29" fmla="*/ 0 w 611312"/>
                <a:gd name="connsiteY29" fmla="*/ 275090 h 641878"/>
                <a:gd name="connsiteX30" fmla="*/ 0 w 611312"/>
                <a:gd name="connsiteY30" fmla="*/ 114620 h 641878"/>
                <a:gd name="connsiteX31" fmla="*/ 22924 w 611312"/>
                <a:gd name="connsiteY31" fmla="*/ 91696 h 641878"/>
                <a:gd name="connsiteX32" fmla="*/ 261336 w 611312"/>
                <a:gd name="connsiteY32" fmla="*/ 4584 h 641878"/>
                <a:gd name="connsiteX33" fmla="*/ 275091 w 611312"/>
                <a:gd name="connsiteY33" fmla="*/ 0 h 64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11312" h="641878">
                  <a:moveTo>
                    <a:pt x="534879" y="397325"/>
                  </a:moveTo>
                  <a:cubicBezTo>
                    <a:pt x="530968" y="397330"/>
                    <a:pt x="527057" y="398828"/>
                    <a:pt x="524078" y="401815"/>
                  </a:cubicBezTo>
                  <a:lnTo>
                    <a:pt x="412636" y="513287"/>
                  </a:lnTo>
                  <a:lnTo>
                    <a:pt x="362325" y="462945"/>
                  </a:lnTo>
                  <a:cubicBezTo>
                    <a:pt x="356350" y="456971"/>
                    <a:pt x="346661" y="456971"/>
                    <a:pt x="340685" y="462945"/>
                  </a:cubicBezTo>
                  <a:cubicBezTo>
                    <a:pt x="334709" y="468921"/>
                    <a:pt x="334709" y="478611"/>
                    <a:pt x="340685" y="484587"/>
                  </a:cubicBezTo>
                  <a:lnTo>
                    <a:pt x="401816" y="545718"/>
                  </a:lnTo>
                  <a:cubicBezTo>
                    <a:pt x="401824" y="545726"/>
                    <a:pt x="401833" y="545736"/>
                    <a:pt x="401844" y="545745"/>
                  </a:cubicBezTo>
                  <a:cubicBezTo>
                    <a:pt x="407817" y="551705"/>
                    <a:pt x="417496" y="551694"/>
                    <a:pt x="423456" y="545718"/>
                  </a:cubicBezTo>
                  <a:lnTo>
                    <a:pt x="545718" y="423455"/>
                  </a:lnTo>
                  <a:cubicBezTo>
                    <a:pt x="545728" y="423446"/>
                    <a:pt x="545736" y="423437"/>
                    <a:pt x="545745" y="423428"/>
                  </a:cubicBezTo>
                  <a:cubicBezTo>
                    <a:pt x="551707" y="417452"/>
                    <a:pt x="551694" y="407775"/>
                    <a:pt x="545718" y="401815"/>
                  </a:cubicBezTo>
                  <a:cubicBezTo>
                    <a:pt x="545710" y="401806"/>
                    <a:pt x="545701" y="401796"/>
                    <a:pt x="545690" y="401786"/>
                  </a:cubicBezTo>
                  <a:cubicBezTo>
                    <a:pt x="542704" y="398807"/>
                    <a:pt x="538790" y="397320"/>
                    <a:pt x="534879" y="397325"/>
                  </a:cubicBezTo>
                  <a:close/>
                  <a:moveTo>
                    <a:pt x="443202" y="305655"/>
                  </a:moveTo>
                  <a:cubicBezTo>
                    <a:pt x="536048" y="305655"/>
                    <a:pt x="611312" y="380920"/>
                    <a:pt x="611312" y="473765"/>
                  </a:cubicBezTo>
                  <a:cubicBezTo>
                    <a:pt x="611312" y="566613"/>
                    <a:pt x="536048" y="641878"/>
                    <a:pt x="443202" y="641878"/>
                  </a:cubicBezTo>
                  <a:cubicBezTo>
                    <a:pt x="350356" y="641878"/>
                    <a:pt x="275090" y="566613"/>
                    <a:pt x="275090" y="473765"/>
                  </a:cubicBezTo>
                  <a:cubicBezTo>
                    <a:pt x="275090" y="380920"/>
                    <a:pt x="350356" y="305655"/>
                    <a:pt x="443202" y="305655"/>
                  </a:cubicBezTo>
                  <a:close/>
                  <a:moveTo>
                    <a:pt x="275091" y="0"/>
                  </a:moveTo>
                  <a:cubicBezTo>
                    <a:pt x="279930" y="0"/>
                    <a:pt x="284769" y="1528"/>
                    <a:pt x="288845" y="4584"/>
                  </a:cubicBezTo>
                  <a:cubicBezTo>
                    <a:pt x="366543" y="62872"/>
                    <a:pt x="445861" y="91696"/>
                    <a:pt x="527257" y="91696"/>
                  </a:cubicBezTo>
                  <a:cubicBezTo>
                    <a:pt x="539917" y="91696"/>
                    <a:pt x="550181" y="101959"/>
                    <a:pt x="550181" y="114620"/>
                  </a:cubicBezTo>
                  <a:lnTo>
                    <a:pt x="550181" y="275090"/>
                  </a:lnTo>
                  <a:cubicBezTo>
                    <a:pt x="550181" y="285420"/>
                    <a:pt x="549753" y="295569"/>
                    <a:pt x="548958" y="305534"/>
                  </a:cubicBezTo>
                  <a:cubicBezTo>
                    <a:pt x="456100" y="247077"/>
                    <a:pt x="333434" y="274967"/>
                    <a:pt x="274980" y="367825"/>
                  </a:cubicBezTo>
                  <a:cubicBezTo>
                    <a:pt x="227961" y="442514"/>
                    <a:pt x="235850" y="539266"/>
                    <a:pt x="294347" y="605352"/>
                  </a:cubicBezTo>
                  <a:lnTo>
                    <a:pt x="283496" y="609723"/>
                  </a:lnTo>
                  <a:cubicBezTo>
                    <a:pt x="278095" y="611850"/>
                    <a:pt x="272086" y="611850"/>
                    <a:pt x="266685" y="609723"/>
                  </a:cubicBezTo>
                  <a:cubicBezTo>
                    <a:pt x="90412" y="540277"/>
                    <a:pt x="0" y="427918"/>
                    <a:pt x="0" y="275090"/>
                  </a:cubicBezTo>
                  <a:lnTo>
                    <a:pt x="0" y="114620"/>
                  </a:lnTo>
                  <a:cubicBezTo>
                    <a:pt x="0" y="101959"/>
                    <a:pt x="10263" y="91696"/>
                    <a:pt x="22924" y="91696"/>
                  </a:cubicBezTo>
                  <a:cubicBezTo>
                    <a:pt x="104320" y="91696"/>
                    <a:pt x="183638" y="62872"/>
                    <a:pt x="261336" y="4584"/>
                  </a:cubicBezTo>
                  <a:cubicBezTo>
                    <a:pt x="265411" y="1528"/>
                    <a:pt x="270251" y="0"/>
                    <a:pt x="275091" y="0"/>
                  </a:cubicBezTo>
                  <a:close/>
                </a:path>
              </a:pathLst>
            </a:custGeom>
            <a:blipFill dpi="0" rotWithShape="1">
              <a:blip r:embed="rId13">
                <a:alphaModFix amt="15000"/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tile tx="0" ty="0" sx="15000" sy="15000" flip="none" algn="tl"/>
            </a:blip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A3996E0-3A2F-4F3D-A88D-247FA2DB76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349387" y="2495813"/>
              <a:ext cx="611312" cy="641878"/>
            </a:xfrm>
            <a:custGeom>
              <a:avLst/>
              <a:gdLst>
                <a:gd name="connsiteX0" fmla="*/ 534879 w 611312"/>
                <a:gd name="connsiteY0" fmla="*/ 397325 h 641878"/>
                <a:gd name="connsiteX1" fmla="*/ 524078 w 611312"/>
                <a:gd name="connsiteY1" fmla="*/ 401815 h 641878"/>
                <a:gd name="connsiteX2" fmla="*/ 412636 w 611312"/>
                <a:gd name="connsiteY2" fmla="*/ 513287 h 641878"/>
                <a:gd name="connsiteX3" fmla="*/ 362325 w 611312"/>
                <a:gd name="connsiteY3" fmla="*/ 462945 h 641878"/>
                <a:gd name="connsiteX4" fmla="*/ 340685 w 611312"/>
                <a:gd name="connsiteY4" fmla="*/ 462945 h 641878"/>
                <a:gd name="connsiteX5" fmla="*/ 340685 w 611312"/>
                <a:gd name="connsiteY5" fmla="*/ 484587 h 641878"/>
                <a:gd name="connsiteX6" fmla="*/ 401816 w 611312"/>
                <a:gd name="connsiteY6" fmla="*/ 545718 h 641878"/>
                <a:gd name="connsiteX7" fmla="*/ 401844 w 611312"/>
                <a:gd name="connsiteY7" fmla="*/ 545745 h 641878"/>
                <a:gd name="connsiteX8" fmla="*/ 423456 w 611312"/>
                <a:gd name="connsiteY8" fmla="*/ 545718 h 641878"/>
                <a:gd name="connsiteX9" fmla="*/ 545718 w 611312"/>
                <a:gd name="connsiteY9" fmla="*/ 423455 h 641878"/>
                <a:gd name="connsiteX10" fmla="*/ 545745 w 611312"/>
                <a:gd name="connsiteY10" fmla="*/ 423428 h 641878"/>
                <a:gd name="connsiteX11" fmla="*/ 545718 w 611312"/>
                <a:gd name="connsiteY11" fmla="*/ 401815 h 641878"/>
                <a:gd name="connsiteX12" fmla="*/ 545690 w 611312"/>
                <a:gd name="connsiteY12" fmla="*/ 401786 h 641878"/>
                <a:gd name="connsiteX13" fmla="*/ 534879 w 611312"/>
                <a:gd name="connsiteY13" fmla="*/ 397325 h 641878"/>
                <a:gd name="connsiteX14" fmla="*/ 443202 w 611312"/>
                <a:gd name="connsiteY14" fmla="*/ 305655 h 641878"/>
                <a:gd name="connsiteX15" fmla="*/ 611312 w 611312"/>
                <a:gd name="connsiteY15" fmla="*/ 473765 h 641878"/>
                <a:gd name="connsiteX16" fmla="*/ 443202 w 611312"/>
                <a:gd name="connsiteY16" fmla="*/ 641878 h 641878"/>
                <a:gd name="connsiteX17" fmla="*/ 275090 w 611312"/>
                <a:gd name="connsiteY17" fmla="*/ 473765 h 641878"/>
                <a:gd name="connsiteX18" fmla="*/ 443202 w 611312"/>
                <a:gd name="connsiteY18" fmla="*/ 305655 h 641878"/>
                <a:gd name="connsiteX19" fmla="*/ 275091 w 611312"/>
                <a:gd name="connsiteY19" fmla="*/ 0 h 641878"/>
                <a:gd name="connsiteX20" fmla="*/ 288845 w 611312"/>
                <a:gd name="connsiteY20" fmla="*/ 4584 h 641878"/>
                <a:gd name="connsiteX21" fmla="*/ 527257 w 611312"/>
                <a:gd name="connsiteY21" fmla="*/ 91696 h 641878"/>
                <a:gd name="connsiteX22" fmla="*/ 550181 w 611312"/>
                <a:gd name="connsiteY22" fmla="*/ 114620 h 641878"/>
                <a:gd name="connsiteX23" fmla="*/ 550181 w 611312"/>
                <a:gd name="connsiteY23" fmla="*/ 275090 h 641878"/>
                <a:gd name="connsiteX24" fmla="*/ 548958 w 611312"/>
                <a:gd name="connsiteY24" fmla="*/ 305534 h 641878"/>
                <a:gd name="connsiteX25" fmla="*/ 274980 w 611312"/>
                <a:gd name="connsiteY25" fmla="*/ 367825 h 641878"/>
                <a:gd name="connsiteX26" fmla="*/ 294347 w 611312"/>
                <a:gd name="connsiteY26" fmla="*/ 605352 h 641878"/>
                <a:gd name="connsiteX27" fmla="*/ 283496 w 611312"/>
                <a:gd name="connsiteY27" fmla="*/ 609723 h 641878"/>
                <a:gd name="connsiteX28" fmla="*/ 266685 w 611312"/>
                <a:gd name="connsiteY28" fmla="*/ 609723 h 641878"/>
                <a:gd name="connsiteX29" fmla="*/ 0 w 611312"/>
                <a:gd name="connsiteY29" fmla="*/ 275090 h 641878"/>
                <a:gd name="connsiteX30" fmla="*/ 0 w 611312"/>
                <a:gd name="connsiteY30" fmla="*/ 114620 h 641878"/>
                <a:gd name="connsiteX31" fmla="*/ 22924 w 611312"/>
                <a:gd name="connsiteY31" fmla="*/ 91696 h 641878"/>
                <a:gd name="connsiteX32" fmla="*/ 261336 w 611312"/>
                <a:gd name="connsiteY32" fmla="*/ 4584 h 641878"/>
                <a:gd name="connsiteX33" fmla="*/ 275091 w 611312"/>
                <a:gd name="connsiteY33" fmla="*/ 0 h 64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11312" h="641878">
                  <a:moveTo>
                    <a:pt x="534879" y="397325"/>
                  </a:moveTo>
                  <a:cubicBezTo>
                    <a:pt x="530968" y="397330"/>
                    <a:pt x="527057" y="398828"/>
                    <a:pt x="524078" y="401815"/>
                  </a:cubicBezTo>
                  <a:lnTo>
                    <a:pt x="412636" y="513287"/>
                  </a:lnTo>
                  <a:lnTo>
                    <a:pt x="362325" y="462945"/>
                  </a:lnTo>
                  <a:cubicBezTo>
                    <a:pt x="356350" y="456971"/>
                    <a:pt x="346661" y="456971"/>
                    <a:pt x="340685" y="462945"/>
                  </a:cubicBezTo>
                  <a:cubicBezTo>
                    <a:pt x="334709" y="468921"/>
                    <a:pt x="334709" y="478611"/>
                    <a:pt x="340685" y="484587"/>
                  </a:cubicBezTo>
                  <a:lnTo>
                    <a:pt x="401816" y="545718"/>
                  </a:lnTo>
                  <a:cubicBezTo>
                    <a:pt x="401824" y="545726"/>
                    <a:pt x="401833" y="545736"/>
                    <a:pt x="401844" y="545745"/>
                  </a:cubicBezTo>
                  <a:cubicBezTo>
                    <a:pt x="407817" y="551705"/>
                    <a:pt x="417496" y="551694"/>
                    <a:pt x="423456" y="545718"/>
                  </a:cubicBezTo>
                  <a:lnTo>
                    <a:pt x="545718" y="423455"/>
                  </a:lnTo>
                  <a:cubicBezTo>
                    <a:pt x="545728" y="423446"/>
                    <a:pt x="545736" y="423437"/>
                    <a:pt x="545745" y="423428"/>
                  </a:cubicBezTo>
                  <a:cubicBezTo>
                    <a:pt x="551707" y="417452"/>
                    <a:pt x="551694" y="407775"/>
                    <a:pt x="545718" y="401815"/>
                  </a:cubicBezTo>
                  <a:cubicBezTo>
                    <a:pt x="545710" y="401806"/>
                    <a:pt x="545701" y="401796"/>
                    <a:pt x="545690" y="401786"/>
                  </a:cubicBezTo>
                  <a:cubicBezTo>
                    <a:pt x="542704" y="398807"/>
                    <a:pt x="538790" y="397320"/>
                    <a:pt x="534879" y="397325"/>
                  </a:cubicBezTo>
                  <a:close/>
                  <a:moveTo>
                    <a:pt x="443202" y="305655"/>
                  </a:moveTo>
                  <a:cubicBezTo>
                    <a:pt x="536048" y="305655"/>
                    <a:pt x="611312" y="380920"/>
                    <a:pt x="611312" y="473765"/>
                  </a:cubicBezTo>
                  <a:cubicBezTo>
                    <a:pt x="611312" y="566613"/>
                    <a:pt x="536048" y="641878"/>
                    <a:pt x="443202" y="641878"/>
                  </a:cubicBezTo>
                  <a:cubicBezTo>
                    <a:pt x="350356" y="641878"/>
                    <a:pt x="275090" y="566613"/>
                    <a:pt x="275090" y="473765"/>
                  </a:cubicBezTo>
                  <a:cubicBezTo>
                    <a:pt x="275090" y="380920"/>
                    <a:pt x="350356" y="305655"/>
                    <a:pt x="443202" y="305655"/>
                  </a:cubicBezTo>
                  <a:close/>
                  <a:moveTo>
                    <a:pt x="275091" y="0"/>
                  </a:moveTo>
                  <a:cubicBezTo>
                    <a:pt x="279930" y="0"/>
                    <a:pt x="284769" y="1528"/>
                    <a:pt x="288845" y="4584"/>
                  </a:cubicBezTo>
                  <a:cubicBezTo>
                    <a:pt x="366543" y="62872"/>
                    <a:pt x="445861" y="91696"/>
                    <a:pt x="527257" y="91696"/>
                  </a:cubicBezTo>
                  <a:cubicBezTo>
                    <a:pt x="539917" y="91696"/>
                    <a:pt x="550181" y="101959"/>
                    <a:pt x="550181" y="114620"/>
                  </a:cubicBezTo>
                  <a:lnTo>
                    <a:pt x="550181" y="275090"/>
                  </a:lnTo>
                  <a:cubicBezTo>
                    <a:pt x="550181" y="285420"/>
                    <a:pt x="549753" y="295569"/>
                    <a:pt x="548958" y="305534"/>
                  </a:cubicBezTo>
                  <a:cubicBezTo>
                    <a:pt x="456100" y="247077"/>
                    <a:pt x="333434" y="274967"/>
                    <a:pt x="274980" y="367825"/>
                  </a:cubicBezTo>
                  <a:cubicBezTo>
                    <a:pt x="227961" y="442514"/>
                    <a:pt x="235850" y="539266"/>
                    <a:pt x="294347" y="605352"/>
                  </a:cubicBezTo>
                  <a:lnTo>
                    <a:pt x="283496" y="609723"/>
                  </a:lnTo>
                  <a:cubicBezTo>
                    <a:pt x="278095" y="611850"/>
                    <a:pt x="272086" y="611850"/>
                    <a:pt x="266685" y="609723"/>
                  </a:cubicBezTo>
                  <a:cubicBezTo>
                    <a:pt x="90412" y="540277"/>
                    <a:pt x="0" y="427918"/>
                    <a:pt x="0" y="275090"/>
                  </a:cubicBezTo>
                  <a:lnTo>
                    <a:pt x="0" y="114620"/>
                  </a:lnTo>
                  <a:cubicBezTo>
                    <a:pt x="0" y="101959"/>
                    <a:pt x="10263" y="91696"/>
                    <a:pt x="22924" y="91696"/>
                  </a:cubicBezTo>
                  <a:cubicBezTo>
                    <a:pt x="104320" y="91696"/>
                    <a:pt x="183638" y="62872"/>
                    <a:pt x="261336" y="4584"/>
                  </a:cubicBezTo>
                  <a:cubicBezTo>
                    <a:pt x="265411" y="1528"/>
                    <a:pt x="270251" y="0"/>
                    <a:pt x="27509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3BC4">
                    <a:alpha val="0"/>
                  </a:srgbClr>
                </a:gs>
                <a:gs pos="77440">
                  <a:srgbClr val="49A2DE"/>
                </a:gs>
                <a:gs pos="100000">
                  <a:srgbClr val="8DC8E8"/>
                </a:gs>
                <a:gs pos="53000">
                  <a:srgbClr val="0078D4">
                    <a:alpha val="69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63897" cap="flat">
              <a:noFill/>
              <a:prstDash val="solid"/>
              <a:miter/>
            </a:ln>
            <a:effectLst>
              <a:outerShdw blurRad="63500" dist="63500" dir="2700000" algn="tl" rotWithShape="0">
                <a:srgbClr val="454142">
                  <a:alpha val="2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B1ABFBF8-5286-75A8-BED2-5CC3775CC4F2}"/>
              </a:ext>
            </a:extLst>
          </p:cNvPr>
          <p:cNvSpPr txBox="1">
            <a:spLocks/>
          </p:cNvSpPr>
          <p:nvPr/>
        </p:nvSpPr>
        <p:spPr>
          <a:xfrm>
            <a:off x="8187075" y="3433387"/>
            <a:ext cx="2929961" cy="848921"/>
          </a:xfrm>
          <a:prstGeom prst="rect">
            <a:avLst/>
          </a:prstGeom>
        </p:spPr>
        <p:txBody>
          <a:bodyPr lIns="91416" tIns="45708" rIns="91416" bIns="45708" anchor="t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cap="all" spc="100" baseline="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5pPr>
            <a:lvl6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6pPr>
            <a:lvl7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Responsible AI Tooling</a:t>
            </a:r>
          </a:p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Build and manage apps that are trustworthy by design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0693522B-BC84-56EB-3F34-89427F7B83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6062" y="4882226"/>
            <a:ext cx="540539" cy="540539"/>
          </a:xfrm>
          <a:prstGeom prst="rect">
            <a:avLst/>
          </a:prstGeom>
        </p:spPr>
      </p:pic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60502ABF-5322-8FBF-717B-32351E95AD16}"/>
              </a:ext>
            </a:extLst>
          </p:cNvPr>
          <p:cNvSpPr txBox="1">
            <a:spLocks/>
          </p:cNvSpPr>
          <p:nvPr/>
        </p:nvSpPr>
        <p:spPr>
          <a:xfrm>
            <a:off x="4886602" y="4878114"/>
            <a:ext cx="3350525" cy="548765"/>
          </a:xfrm>
          <a:prstGeom prst="rect">
            <a:avLst/>
          </a:prstGeom>
        </p:spPr>
        <p:txBody>
          <a:bodyPr lIns="91416" tIns="45708" rIns="91416" bIns="45708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cap="all" spc="100" baseline="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5pPr>
            <a:lvl6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6pPr>
            <a:lvl7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>
                <a:tab pos="1371600" algn="l"/>
              </a:tabLst>
              <a:defRPr/>
            </a:pPr>
            <a:r>
              <a:rPr kumimoji="0" lang="en-US" sz="3200" b="1" i="0" u="none" strike="noStrike" kern="120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Azure AI Studio</a:t>
            </a: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0F6FF781-FBFD-21D9-9DE9-5E1751784D98}"/>
              </a:ext>
            </a:extLst>
          </p:cNvPr>
          <p:cNvSpPr txBox="1">
            <a:spLocks/>
          </p:cNvSpPr>
          <p:nvPr/>
        </p:nvSpPr>
        <p:spPr>
          <a:xfrm>
            <a:off x="2330111" y="5382061"/>
            <a:ext cx="7536237" cy="584623"/>
          </a:xfrm>
          <a:prstGeom prst="rect">
            <a:avLst/>
          </a:prstGeom>
        </p:spPr>
        <p:txBody>
          <a:bodyPr lIns="91416" tIns="45708" rIns="91416" bIns="45708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cap="all" spc="100" baseline="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Light" panose="020B0502040204020203" pitchFamily="34" charset="0"/>
              </a:defRPr>
            </a:lvl5pPr>
            <a:lvl6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6pPr>
            <a:lvl7pPr marL="0" indent="0" algn="l" defTabSz="932742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 comprehensive platform to develop and deploy custom copilots</a:t>
            </a:r>
          </a:p>
        </p:txBody>
      </p:sp>
    </p:spTree>
    <p:extLst>
      <p:ext uri="{BB962C8B-B14F-4D97-AF65-F5344CB8AC3E}">
        <p14:creationId xmlns:p14="http://schemas.microsoft.com/office/powerpoint/2010/main" val="30572224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4.44444E-6 L -2.08333E-7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08333E-7 -3.7037E-6 L -2.08333E-7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08333E-7 3.33333E-6 L -2.08333E-7 0.03541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2.96296E-6 L 0 0.03541 " pathEditMode="relative" rAng="0" ptsTypes="AA">
                                      <p:cBhvr>
                                        <p:cTn id="2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04167E-6 1.11111E-6 L -1.04167E-6 0.03542 " pathEditMode="relative" rAng="0" ptsTypes="AA">
                                      <p:cBhvr>
                                        <p:cTn id="32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2.59259E-6 L 4.16667E-6 0.03541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2.08333E-7 -4.81481E-6 L -2.08333E-7 0.03542 " pathEditMode="relative" rAng="0" ptsTypes="AA">
                                      <p:cBhvr>
                                        <p:cTn id="42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08333E-7 7.40741E-7 L -2.08333E-7 0.03542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45833E-6 0 L -1.45833E-6 0.03542 " pathEditMode="relative" rAng="0" ptsTypes="AA">
                                      <p:cBhvr>
                                        <p:cTn id="52" dur="7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8333E-7 0 L -2.08333E-7 0.03542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33333E-6 0 L 3.33333E-6 0.03542 " pathEditMode="relative" rAng="0" ptsTypes="AA">
                                      <p:cBhvr>
                                        <p:cTn id="62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45833E-6 4.81481E-6 L -1.45833E-6 0.03541 " pathEditMode="relative" rAng="0" ptsTypes="AA">
                                      <p:cBhvr>
                                        <p:cTn id="67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08333E-7 4.81481E-6 L -2.08333E-7 0.03541 " pathEditMode="relative" rAng="0" ptsTypes="AA">
                                      <p:cBhvr>
                                        <p:cTn id="72" dur="7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33333E-6 4.81481E-6 L 3.33333E-6 0.03541 " pathEditMode="relative" rAng="0" ptsTypes="AA">
                                      <p:cBhvr>
                                        <p:cTn id="7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  <p:bldP spid="26" grpId="0"/>
      <p:bldP spid="26" grpId="1"/>
      <p:bldP spid="27" grpId="0"/>
      <p:bldP spid="27" grpId="1"/>
      <p:bldP spid="37" grpId="0"/>
      <p:bldP spid="37" grpId="1"/>
      <p:bldP spid="39" grpId="0"/>
      <p:bldP spid="39" grpId="1"/>
      <p:bldP spid="44" grpId="0"/>
      <p:bldP spid="44" grpId="1"/>
      <p:bldP spid="46" grpId="0"/>
      <p:bldP spid="46" grpId="1"/>
      <p:bldP spid="47" grpId="0"/>
      <p:bldP spid="47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Azure 2023 Template">
  <a:themeElements>
    <a:clrScheme name="Custom 4">
      <a:dk1>
        <a:srgbClr val="000000"/>
      </a:dk1>
      <a:lt1>
        <a:srgbClr val="FFFFFF"/>
      </a:lt1>
      <a:dk2>
        <a:srgbClr val="0078D4"/>
      </a:dk2>
      <a:lt2>
        <a:srgbClr val="E8E6DF"/>
      </a:lt2>
      <a:accent1>
        <a:srgbClr val="0078D4"/>
      </a:accent1>
      <a:accent2>
        <a:srgbClr val="2A446F"/>
      </a:accent2>
      <a:accent3>
        <a:srgbClr val="49C5B1"/>
      </a:accent3>
      <a:accent4>
        <a:srgbClr val="8DE971"/>
      </a:accent4>
      <a:accent5>
        <a:srgbClr val="F4364F"/>
      </a:accent5>
      <a:accent6>
        <a:srgbClr val="C03BC4"/>
      </a:accent6>
      <a:hlink>
        <a:srgbClr val="091F2C"/>
      </a:hlink>
      <a:folHlink>
        <a:srgbClr val="091F2C"/>
      </a:folHlink>
    </a:clrScheme>
    <a:fontScheme name="Custom 4">
      <a:majorFont>
        <a:latin typeface="Segoe Sans Text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AzureTemplate_2023_v09" id="{84C66EF3-53A2-9A4F-A8C8-B123E5EB98BF}" vid="{4F8F454D-D741-BE40-A1B6-EA401B48B1B9}"/>
    </a:ext>
  </a:extLst>
</a:theme>
</file>

<file path=ppt/theme/theme2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3.xml><?xml version="1.0" encoding="utf-8"?>
<a:theme xmlns:a="http://schemas.openxmlformats.org/drawingml/2006/main" name="Microsoft AI Tour 16:9 Template Dark">
  <a:themeElements>
    <a:clrScheme name="Custom 197">
      <a:dk1>
        <a:srgbClr val="091F2C"/>
      </a:dk1>
      <a:lt1>
        <a:srgbClr val="FFFFFF"/>
      </a:lt1>
      <a:dk2>
        <a:srgbClr val="091F2C"/>
      </a:dk2>
      <a:lt2>
        <a:srgbClr val="E8E6DF"/>
      </a:lt2>
      <a:accent1>
        <a:srgbClr val="C5B4E3"/>
      </a:accent1>
      <a:accent2>
        <a:srgbClr val="0078D4"/>
      </a:accent2>
      <a:accent3>
        <a:srgbClr val="8DE971"/>
      </a:accent3>
      <a:accent4>
        <a:srgbClr val="D7D2CB"/>
      </a:accent4>
      <a:accent5>
        <a:srgbClr val="8661C5"/>
      </a:accent5>
      <a:accent6>
        <a:srgbClr val="D2D2D2"/>
      </a:accent6>
      <a:hlink>
        <a:srgbClr val="D59ED7"/>
      </a:hlink>
      <a:folHlink>
        <a:srgbClr val="D59ED7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AI Tour_2024_16-9 Event-template.potx" id="{10A8AE99-8A8D-4608-9F84-61FDF4D5C73D}" vid="{837E6454-BB5A-485A-B15D-3D489AC26F93}"/>
    </a:ext>
  </a:extLst>
</a:theme>
</file>

<file path=ppt/theme/theme4.xml><?xml version="1.0" encoding="utf-8"?>
<a:theme xmlns:a="http://schemas.openxmlformats.org/drawingml/2006/main" name="Microsoft AI Tour 16:9 Template Light">
  <a:themeElements>
    <a:clrScheme name="Custom 193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8661C5"/>
      </a:accent1>
      <a:accent2>
        <a:srgbClr val="0078D4"/>
      </a:accent2>
      <a:accent3>
        <a:srgbClr val="8DE971"/>
      </a:accent3>
      <a:accent4>
        <a:srgbClr val="8C8279"/>
      </a:accent4>
      <a:accent5>
        <a:srgbClr val="463668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AI Tour_2024_16-9 Event-template.potx" id="{10A8AE99-8A8D-4608-9F84-61FDF4D5C73D}" vid="{B4F0B07B-3A4D-4C62-94BD-A9EACF6FFAE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0</Words>
  <Application>Microsoft Office PowerPoint</Application>
  <PresentationFormat>Widescreen</PresentationFormat>
  <Paragraphs>560</Paragraphs>
  <Slides>33</Slides>
  <Notes>22</Notes>
  <HiddenSlides>2</HiddenSlides>
  <MMClips>2</MMClips>
  <ScaleCrop>false</ScaleCrop>
  <HeadingPairs>
    <vt:vector size="6" baseType="variant">
      <vt:variant>
        <vt:lpstr>Fonts Used</vt:lpstr>
      </vt:variant>
      <vt:variant>
        <vt:i4>18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33</vt:i4>
      </vt:variant>
    </vt:vector>
  </HeadingPairs>
  <TitlesOfParts>
    <vt:vector size="55" baseType="lpstr">
      <vt:lpstr>Symbol,Sans-Serif</vt:lpstr>
      <vt:lpstr>Aptos</vt:lpstr>
      <vt:lpstr>Arial</vt:lpstr>
      <vt:lpstr>Calibri</vt:lpstr>
      <vt:lpstr>Consolas</vt:lpstr>
      <vt:lpstr>Segoe Sans Display</vt:lpstr>
      <vt:lpstr>Segoe Sans Display Semibold</vt:lpstr>
      <vt:lpstr>Segoe Sans Small Semilight</vt:lpstr>
      <vt:lpstr>Segoe Sans Text</vt:lpstr>
      <vt:lpstr>Segoe Sans Text Semibold</vt:lpstr>
      <vt:lpstr>Segoe Sans Text Semilight</vt:lpstr>
      <vt:lpstr>Segoe UI</vt:lpstr>
      <vt:lpstr>Segoe UI Semibold</vt:lpstr>
      <vt:lpstr>Segoe UI Variable Display Semib</vt:lpstr>
      <vt:lpstr>Segoe UI Variable Display Semibold</vt:lpstr>
      <vt:lpstr>Segoe UI Variable Small Semibol</vt:lpstr>
      <vt:lpstr>Symbol</vt:lpstr>
      <vt:lpstr>Wingdings</vt:lpstr>
      <vt:lpstr>Azure 2023 Template</vt:lpstr>
      <vt:lpstr>Title Slides</vt:lpstr>
      <vt:lpstr>Microsoft AI Tour 16:9 Template Dark</vt:lpstr>
      <vt:lpstr>Microsoft AI Tour 16:9 Template Light</vt:lpstr>
      <vt:lpstr>Build unique  GenAI experiences  that scale with your data</vt:lpstr>
      <vt:lpstr>Build your own copilot</vt:lpstr>
      <vt:lpstr>PowerPoint Presentation</vt:lpstr>
      <vt:lpstr>PowerPoint Presentation</vt:lpstr>
      <vt:lpstr>Generative AI is the greatest force multiplier we’ve ever had at our fingertips</vt:lpstr>
      <vt:lpstr>60,000+ organizations   are innovating  and scaling with the Azure AI platform</vt:lpstr>
      <vt:lpstr>Unlock any use case with Azure AI</vt:lpstr>
      <vt:lpstr>Let’s dive in</vt:lpstr>
      <vt:lpstr>Azure AI</vt:lpstr>
      <vt:lpstr>Microsoft Azure AI  Where innovators are creating the future</vt:lpstr>
      <vt:lpstr>Copilot Tech Stack</vt:lpstr>
      <vt:lpstr>Copilot Tech Stack</vt:lpstr>
      <vt:lpstr>Azure AI Studio</vt:lpstr>
      <vt:lpstr>How to start?</vt:lpstr>
      <vt:lpstr>There you go</vt:lpstr>
      <vt:lpstr>GenAI Ops</vt:lpstr>
      <vt:lpstr>From feeling to number</vt:lpstr>
      <vt:lpstr>Experience Sharing – the 5 Ste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icrosoft Intelligent Data Platform</vt:lpstr>
      <vt:lpstr>PowerPoint Presentation</vt:lpstr>
      <vt:lpstr>Microsoft Fabric  </vt:lpstr>
      <vt:lpstr>Bring in data from anywhere</vt:lpstr>
      <vt:lpstr>Copilot in Fabric</vt:lpstr>
      <vt:lpstr>Azure AI + Microsoft Fabric = boundless possibilities</vt:lpstr>
      <vt:lpstr>Azure AI + Microsoft Fabric</vt:lpstr>
      <vt:lpstr>End-to-end Cloud Native path</vt:lpstr>
      <vt:lpstr>Calculating Chargeback for BU/Projec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10-31T08:40:53Z</dcterms:created>
  <dcterms:modified xsi:type="dcterms:W3CDTF">2024-10-31T09:28:46Z</dcterms:modified>
</cp:coreProperties>
</file>